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11" r:id="rId1"/>
    <p:sldMasterId id="2147483919" r:id="rId2"/>
    <p:sldMasterId id="2147484040" r:id="rId3"/>
  </p:sldMasterIdLst>
  <p:notesMasterIdLst>
    <p:notesMasterId r:id="rId21"/>
  </p:notesMasterIdLst>
  <p:handoutMasterIdLst>
    <p:handoutMasterId r:id="rId22"/>
  </p:handoutMasterIdLst>
  <p:sldIdLst>
    <p:sldId id="427" r:id="rId4"/>
    <p:sldId id="438" r:id="rId5"/>
    <p:sldId id="373" r:id="rId6"/>
    <p:sldId id="458" r:id="rId7"/>
    <p:sldId id="477" r:id="rId8"/>
    <p:sldId id="467" r:id="rId9"/>
    <p:sldId id="471" r:id="rId10"/>
    <p:sldId id="472" r:id="rId11"/>
    <p:sldId id="468" r:id="rId12"/>
    <p:sldId id="412" r:id="rId13"/>
    <p:sldId id="313" r:id="rId14"/>
    <p:sldId id="460" r:id="rId15"/>
    <p:sldId id="462" r:id="rId16"/>
    <p:sldId id="463" r:id="rId17"/>
    <p:sldId id="469" r:id="rId18"/>
    <p:sldId id="423" r:id="rId19"/>
    <p:sldId id="422" r:id="rId20"/>
  </p:sldIdLst>
  <p:sldSz cx="9906000" cy="6858000" type="A4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orient="horz" pos="2341" userDrawn="1">
          <p15:clr>
            <a:srgbClr val="A4A3A4"/>
          </p15:clr>
        </p15:guide>
        <p15:guide id="3" orient="horz" pos="2251" userDrawn="1">
          <p15:clr>
            <a:srgbClr val="A4A3A4"/>
          </p15:clr>
        </p15:guide>
        <p15:guide id="4" orient="horz" pos="754" userDrawn="1">
          <p15:clr>
            <a:srgbClr val="A4A3A4"/>
          </p15:clr>
        </p15:guide>
        <p15:guide id="5" orient="horz" pos="572" userDrawn="1">
          <p15:clr>
            <a:srgbClr val="A4A3A4"/>
          </p15:clr>
        </p15:guide>
        <p15:guide id="6" orient="horz" pos="436" userDrawn="1">
          <p15:clr>
            <a:srgbClr val="A4A3A4"/>
          </p15:clr>
        </p15:guide>
        <p15:guide id="7" pos="1450" userDrawn="1">
          <p15:clr>
            <a:srgbClr val="A4A3A4"/>
          </p15:clr>
        </p15:guide>
        <p15:guide id="8" pos="172" userDrawn="1">
          <p15:clr>
            <a:srgbClr val="A4A3A4"/>
          </p15:clr>
        </p15:guide>
        <p15:guide id="9" pos="1252" userDrawn="1">
          <p15:clr>
            <a:srgbClr val="A4A3A4"/>
          </p15:clr>
        </p15:guide>
        <p15:guide id="10" pos="2530" userDrawn="1">
          <p15:clr>
            <a:srgbClr val="A4A3A4"/>
          </p15:clr>
        </p15:guide>
        <p15:guide id="11" pos="3710" userDrawn="1">
          <p15:clr>
            <a:srgbClr val="A4A3A4"/>
          </p15:clr>
        </p15:guide>
        <p15:guide id="12" pos="3808" userDrawn="1">
          <p15:clr>
            <a:srgbClr val="A4A3A4"/>
          </p15:clr>
        </p15:guide>
        <p15:guide id="13" pos="4889" userDrawn="1">
          <p15:clr>
            <a:srgbClr val="A4A3A4"/>
          </p15:clr>
        </p15:guide>
        <p15:guide id="14" pos="6068" userDrawn="1">
          <p15:clr>
            <a:srgbClr val="A4A3A4"/>
          </p15:clr>
        </p15:guide>
        <p15:guide id="15" pos="2628" userDrawn="1">
          <p15:clr>
            <a:srgbClr val="A4A3A4"/>
          </p15:clr>
        </p15:guide>
        <p15:guide id="16" pos="4988" userDrawn="1">
          <p15:clr>
            <a:srgbClr val="A4A3A4"/>
          </p15:clr>
        </p15:guide>
        <p15:guide id="17" pos="3075" userDrawn="1">
          <p15:clr>
            <a:srgbClr val="A4A3A4"/>
          </p15:clr>
        </p15:guide>
        <p15:guide id="18" pos="31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stasia Kalugina" initials="AK" lastIdx="42" clrIdx="0">
    <p:extLst>
      <p:ext uri="{19B8F6BF-5375-455C-9EA6-DF929625EA0E}">
        <p15:presenceInfo xmlns:p15="http://schemas.microsoft.com/office/powerpoint/2012/main" userId="Anastasia Kalugina" providerId="None"/>
      </p:ext>
    </p:extLst>
  </p:cmAuthor>
  <p:cmAuthor id="2" name="kpmg" initials="k" lastIdx="7" clrIdx="1">
    <p:extLst>
      <p:ext uri="{19B8F6BF-5375-455C-9EA6-DF929625EA0E}">
        <p15:presenceInfo xmlns:p15="http://schemas.microsoft.com/office/powerpoint/2012/main" userId="kpm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99D2"/>
    <a:srgbClr val="189BD4"/>
    <a:srgbClr val="184595"/>
    <a:srgbClr val="F2F2F2"/>
    <a:srgbClr val="4CB74C"/>
    <a:srgbClr val="00AA02"/>
    <a:srgbClr val="B066AF"/>
    <a:srgbClr val="B6646B"/>
    <a:srgbClr val="8BFF8B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73" autoAdjust="0"/>
    <p:restoredTop sz="94833" autoAdjust="0"/>
  </p:normalViewPr>
  <p:slideViewPr>
    <p:cSldViewPr>
      <p:cViewPr varScale="1">
        <p:scale>
          <a:sx n="86" d="100"/>
          <a:sy n="86" d="100"/>
        </p:scale>
        <p:origin x="90" y="144"/>
      </p:cViewPr>
      <p:guideLst>
        <p:guide orient="horz" pos="3838"/>
        <p:guide orient="horz" pos="2341"/>
        <p:guide orient="horz" pos="2251"/>
        <p:guide orient="horz" pos="754"/>
        <p:guide orient="horz" pos="572"/>
        <p:guide orient="horz" pos="436"/>
        <p:guide pos="1450"/>
        <p:guide pos="172"/>
        <p:guide pos="1252"/>
        <p:guide pos="2530"/>
        <p:guide pos="3710"/>
        <p:guide pos="3808"/>
        <p:guide pos="4889"/>
        <p:guide pos="6068"/>
        <p:guide pos="2628"/>
        <p:guide pos="4988"/>
        <p:guide pos="3075"/>
        <p:guide pos="316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-4014" y="-102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zueva\Desktop\Book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zueva\Desktop\Book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zueva\Desktop\Book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ozueva\Desktop\Book1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1!$D$17:$D$28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Sheet1!$A$17:$A$28</c:f>
              <c:numCache>
                <c:formatCode>#,##0</c:formatCode>
                <c:ptCount val="12"/>
                <c:pt idx="0">
                  <c:v>435963.41198327427</c:v>
                </c:pt>
                <c:pt idx="1">
                  <c:v>191519.65226079081</c:v>
                </c:pt>
                <c:pt idx="2">
                  <c:v>245366.11994107859</c:v>
                </c:pt>
                <c:pt idx="3">
                  <c:v>877303.86108177679</c:v>
                </c:pt>
                <c:pt idx="4">
                  <c:v>138827.12221384165</c:v>
                </c:pt>
                <c:pt idx="5">
                  <c:v>353019.70063168654</c:v>
                </c:pt>
                <c:pt idx="6">
                  <c:v>320865.81341945817</c:v>
                </c:pt>
                <c:pt idx="7">
                  <c:v>209412.53310499995</c:v>
                </c:pt>
                <c:pt idx="8">
                  <c:v>74072.344886402687</c:v>
                </c:pt>
                <c:pt idx="9">
                  <c:v>671930.88131566742</c:v>
                </c:pt>
                <c:pt idx="10">
                  <c:v>100000</c:v>
                </c:pt>
                <c:pt idx="11">
                  <c:v>596254.1693321616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7499208"/>
        <c:axId val="387489016"/>
      </c:lineChart>
      <c:catAx>
        <c:axId val="3874992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89016"/>
        <c:crosses val="autoZero"/>
        <c:auto val="1"/>
        <c:lblAlgn val="ctr"/>
        <c:lblOffset val="100"/>
        <c:noMultiLvlLbl val="0"/>
      </c:catAx>
      <c:valAx>
        <c:axId val="387489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99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spPr>
            <a:ln w="28575" cap="rnd">
              <a:solidFill>
                <a:srgbClr val="007C92"/>
              </a:solidFill>
              <a:round/>
            </a:ln>
            <a:effectLst/>
          </c:spPr>
          <c:marker>
            <c:symbol val="none"/>
          </c:marker>
          <c:cat>
            <c:strRef>
              <c:f>Sheet1!$D$17:$D$28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Sheet1!$B$34:$B$45</c:f>
              <c:numCache>
                <c:formatCode>#,##0</c:formatCode>
                <c:ptCount val="12"/>
                <c:pt idx="0">
                  <c:v>272727.27272727271</c:v>
                </c:pt>
                <c:pt idx="1">
                  <c:v>381818.18181818177</c:v>
                </c:pt>
                <c:pt idx="2">
                  <c:v>345454.54545454541</c:v>
                </c:pt>
                <c:pt idx="3">
                  <c:v>95454.545454545441</c:v>
                </c:pt>
                <c:pt idx="4">
                  <c:v>390909.09090909088</c:v>
                </c:pt>
                <c:pt idx="5">
                  <c:v>254545.45454545453</c:v>
                </c:pt>
                <c:pt idx="6">
                  <c:v>354545.45454545453</c:v>
                </c:pt>
                <c:pt idx="7">
                  <c:v>227272.72727272726</c:v>
                </c:pt>
                <c:pt idx="8">
                  <c:v>195454.54545454544</c:v>
                </c:pt>
                <c:pt idx="9">
                  <c:v>90909.090909090897</c:v>
                </c:pt>
                <c:pt idx="10">
                  <c:v>409090.90909090906</c:v>
                </c:pt>
                <c:pt idx="11">
                  <c:v>609090.909090909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7486272"/>
        <c:axId val="387487056"/>
      </c:lineChart>
      <c:catAx>
        <c:axId val="3874862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87056"/>
        <c:crosses val="autoZero"/>
        <c:auto val="1"/>
        <c:lblAlgn val="ctr"/>
        <c:lblOffset val="100"/>
        <c:noMultiLvlLbl val="0"/>
      </c:catAx>
      <c:valAx>
        <c:axId val="387487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862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C84E00"/>
              </a:solidFill>
              <a:round/>
            </a:ln>
            <a:effectLst/>
          </c:spPr>
          <c:marker>
            <c:symbol val="none"/>
          </c:marker>
          <c:cat>
            <c:strRef>
              <c:f>Sheet1!$D$17:$D$28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Sheet1!$C$34:$C$45</c:f>
              <c:numCache>
                <c:formatCode>_(* #,##0.00_);_(* \(#,##0.00\);_(* "-"??_);_(@_)</c:formatCode>
                <c:ptCount val="12"/>
                <c:pt idx="0">
                  <c:v>192857.14285714287</c:v>
                </c:pt>
                <c:pt idx="1">
                  <c:v>264285.71428571432</c:v>
                </c:pt>
                <c:pt idx="2">
                  <c:v>392857.1428571429</c:v>
                </c:pt>
                <c:pt idx="3">
                  <c:v>89285.71428571429</c:v>
                </c:pt>
                <c:pt idx="4">
                  <c:v>307142.85714285716</c:v>
                </c:pt>
                <c:pt idx="5">
                  <c:v>314285.71428571432</c:v>
                </c:pt>
                <c:pt idx="6">
                  <c:v>214285.71428571429</c:v>
                </c:pt>
                <c:pt idx="7">
                  <c:v>128571.42857142858</c:v>
                </c:pt>
                <c:pt idx="8">
                  <c:v>392857.1428571429</c:v>
                </c:pt>
                <c:pt idx="9">
                  <c:v>392857.1428571429</c:v>
                </c:pt>
                <c:pt idx="10">
                  <c:v>339285.71428571432</c:v>
                </c:pt>
                <c:pt idx="11">
                  <c:v>92857.142857142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7488624"/>
        <c:axId val="387490584"/>
      </c:lineChart>
      <c:catAx>
        <c:axId val="387488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90584"/>
        <c:crossesAt val="0"/>
        <c:auto val="1"/>
        <c:lblAlgn val="ctr"/>
        <c:lblOffset val="100"/>
        <c:noMultiLvlLbl val="0"/>
      </c:catAx>
      <c:valAx>
        <c:axId val="38749058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7488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spPr>
            <a:ln w="28575" cap="rnd">
              <a:solidFill>
                <a:srgbClr val="00338D"/>
              </a:solidFill>
              <a:round/>
            </a:ln>
            <a:effectLst/>
          </c:spPr>
          <c:marker>
            <c:symbol val="none"/>
          </c:marker>
          <c:cat>
            <c:strRef>
              <c:f>Sheet1!$D$17:$D$28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Sheet1!$E$17:$E$28</c:f>
              <c:numCache>
                <c:formatCode>#,##0</c:formatCode>
                <c:ptCount val="12"/>
                <c:pt idx="0">
                  <c:v>1005963.4119832743</c:v>
                </c:pt>
                <c:pt idx="1">
                  <c:v>981519.65226079081</c:v>
                </c:pt>
                <c:pt idx="2">
                  <c:v>1175366.1199410786</c:v>
                </c:pt>
                <c:pt idx="3">
                  <c:v>1107303.8610817767</c:v>
                </c:pt>
                <c:pt idx="4">
                  <c:v>998827.12221384165</c:v>
                </c:pt>
                <c:pt idx="5">
                  <c:v>1073019.7006316865</c:v>
                </c:pt>
                <c:pt idx="6">
                  <c:v>1010865.8134194582</c:v>
                </c:pt>
                <c:pt idx="7">
                  <c:v>639412.53310499992</c:v>
                </c:pt>
                <c:pt idx="8">
                  <c:v>839072.34488640272</c:v>
                </c:pt>
                <c:pt idx="9">
                  <c:v>1321930.8813156674</c:v>
                </c:pt>
                <c:pt idx="10">
                  <c:v>1025000</c:v>
                </c:pt>
                <c:pt idx="11">
                  <c:v>1396254.16933216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1861488"/>
        <c:axId val="641866584"/>
      </c:lineChart>
      <c:catAx>
        <c:axId val="641861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1866584"/>
        <c:crosses val="autoZero"/>
        <c:auto val="1"/>
        <c:lblAlgn val="ctr"/>
        <c:lblOffset val="100"/>
        <c:noMultiLvlLbl val="0"/>
      </c:catAx>
      <c:valAx>
        <c:axId val="6418665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18614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098" y="0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B3801B-3AD9-4063-8035-40061A8994CF}" type="datetimeFigureOut">
              <a:rPr lang="en-GB" smtClean="0">
                <a:latin typeface="Arial" pitchFamily="34" charset="0"/>
              </a:rPr>
              <a:pPr/>
              <a:t>19/04/2016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098" y="9428242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488B57-508C-45DA-BE9E-9787265685AB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84498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1098" y="0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31276AA8-87B9-4096-8DB7-61955026A411}" type="datetimeFigureOut">
              <a:rPr lang="en-GB" smtClean="0"/>
              <a:pPr/>
              <a:t>19/04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606" y="4715710"/>
            <a:ext cx="5438464" cy="44665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1098" y="9428242"/>
            <a:ext cx="2944958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FAB8291F-7122-4223-8777-35D50163381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0242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D8C2D-4129-47EE-8C30-3E85DB2BEC31}" type="slidenum">
              <a:rPr lang="ru-RU" smtClean="0">
                <a:solidFill>
                  <a:prstClr val="black"/>
                </a:solidFill>
              </a:rPr>
              <a:pPr/>
              <a:t>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981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F1DB94-9E68-4D27-9E31-257A6168DBD3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5550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F1DB94-9E68-4D27-9E31-257A6168DBD3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96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8291F-7122-4223-8777-35D50163381A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592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8291F-7122-4223-8777-35D50163381A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20372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12020-D221-4D0F-A2D7-A307EE778AE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9340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6"/>
          <p:cNvSpPr>
            <a:spLocks/>
          </p:cNvSpPr>
          <p:nvPr/>
        </p:nvSpPr>
        <p:spPr bwMode="gray">
          <a:xfrm>
            <a:off x="4" y="549279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8" y="1844824"/>
            <a:ext cx="3528392" cy="1943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2769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2769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2769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2769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2769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2769" b="1" dirty="0">
                <a:solidFill>
                  <a:schemeClr val="bg1"/>
                </a:solidFill>
                <a:latin typeface="+mj-lt"/>
              </a:defRPr>
            </a:lvl8pPr>
            <a:lvl9pPr>
              <a:defRPr sz="276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3168352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106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33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Line 31"/>
          <p:cNvSpPr>
            <a:spLocks noChangeShapeType="1"/>
          </p:cNvSpPr>
          <p:nvPr userDrawn="1"/>
        </p:nvSpPr>
        <p:spPr bwMode="gray">
          <a:xfrm>
            <a:off x="0" y="908720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11273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300705" y="116632"/>
            <a:ext cx="7332245" cy="57606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72480" y="1196752"/>
            <a:ext cx="9361040" cy="489654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Line 33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>
              <a:solidFill>
                <a:srgbClr val="000000"/>
              </a:solidFill>
            </a:endParaRPr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8720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sz="195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71560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27653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71325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084578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44454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358532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48436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pag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050" y="1268411"/>
            <a:ext cx="9363600" cy="5043600"/>
          </a:xfrm>
        </p:spPr>
        <p:txBody>
          <a:bodyPr/>
          <a:lstStyle/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4" name="Line 33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945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082092" y="6462713"/>
            <a:ext cx="658813" cy="279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FB5938E-E710-4194-8D28-76889281D10A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" name="Line 33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Line 31"/>
          <p:cNvSpPr>
            <a:spLocks noChangeShapeType="1"/>
          </p:cNvSpPr>
          <p:nvPr userDrawn="1"/>
        </p:nvSpPr>
        <p:spPr bwMode="gray">
          <a:xfrm>
            <a:off x="0" y="908720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2374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rademark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Freeform 7"/>
          <p:cNvSpPr>
            <a:spLocks noChangeAspect="1" noEditPoints="1"/>
          </p:cNvSpPr>
          <p:nvPr userDrawn="1"/>
        </p:nvSpPr>
        <p:spPr bwMode="gray">
          <a:xfrm>
            <a:off x="0" y="-1589"/>
            <a:ext cx="6553845" cy="4046463"/>
          </a:xfrm>
          <a:custGeom>
            <a:avLst/>
            <a:gdLst/>
            <a:ahLst/>
            <a:cxnLst>
              <a:cxn ang="0">
                <a:pos x="3026" y="0"/>
              </a:cxn>
              <a:cxn ang="0">
                <a:pos x="0" y="0"/>
              </a:cxn>
              <a:cxn ang="0">
                <a:pos x="0" y="2024"/>
              </a:cxn>
              <a:cxn ang="0">
                <a:pos x="2427" y="2024"/>
              </a:cxn>
              <a:cxn ang="0">
                <a:pos x="3026" y="0"/>
              </a:cxn>
              <a:cxn ang="0">
                <a:pos x="3026" y="0"/>
              </a:cxn>
              <a:cxn ang="0">
                <a:pos x="3026" y="0"/>
              </a:cxn>
            </a:cxnLst>
            <a:rect l="0" t="0" r="r" b="b"/>
            <a:pathLst>
              <a:path w="3026" h="2024">
                <a:moveTo>
                  <a:pt x="3026" y="0"/>
                </a:moveTo>
                <a:lnTo>
                  <a:pt x="0" y="0"/>
                </a:lnTo>
                <a:lnTo>
                  <a:pt x="0" y="2024"/>
                </a:lnTo>
                <a:lnTo>
                  <a:pt x="2427" y="2024"/>
                </a:lnTo>
                <a:lnTo>
                  <a:pt x="3026" y="0"/>
                </a:lnTo>
                <a:moveTo>
                  <a:pt x="3026" y="0"/>
                </a:moveTo>
                <a:lnTo>
                  <a:pt x="3026" y="0"/>
                </a:lnTo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defTabSz="914395">
              <a:spcBef>
                <a:spcPct val="50000"/>
              </a:spcBef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347100" y="3789366"/>
            <a:ext cx="3825813" cy="237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10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9" name="Group 8"/>
          <p:cNvGrpSpPr>
            <a:grpSpLocks/>
          </p:cNvGrpSpPr>
          <p:nvPr userDrawn="1"/>
        </p:nvGrpSpPr>
        <p:grpSpPr>
          <a:xfrm>
            <a:off x="139170" y="0"/>
            <a:ext cx="2583746" cy="153035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10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20468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 noChangeAspect="1"/>
          </p:cNvSpPr>
          <p:nvPr userDrawn="1"/>
        </p:nvSpPr>
        <p:spPr bwMode="white">
          <a:xfrm>
            <a:off x="0" y="0"/>
            <a:ext cx="5218113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4489" y="1412776"/>
            <a:ext cx="3816424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Freeform 10"/>
          <p:cNvSpPr>
            <a:spLocks noChangeAspect="1" noEditPoints="1"/>
          </p:cNvSpPr>
          <p:nvPr userDrawn="1"/>
        </p:nvSpPr>
        <p:spPr bwMode="auto">
          <a:xfrm>
            <a:off x="333380" y="401626"/>
            <a:ext cx="2087999" cy="765193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711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 noChangeAspect="1"/>
          </p:cNvSpPr>
          <p:nvPr userDrawn="1"/>
        </p:nvSpPr>
        <p:spPr bwMode="gray">
          <a:xfrm>
            <a:off x="0" y="0"/>
            <a:ext cx="5218113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44489" y="1412776"/>
            <a:ext cx="3816424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2769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2769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2769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2769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2769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2769" b="1" dirty="0">
                <a:solidFill>
                  <a:schemeClr val="bg1"/>
                </a:solidFill>
                <a:latin typeface="+mj-lt"/>
              </a:defRPr>
            </a:lvl8pPr>
            <a:lvl9pPr>
              <a:defRPr sz="276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Freeform 7"/>
          <p:cNvSpPr>
            <a:spLocks noChangeAspect="1" noEditPoints="1"/>
          </p:cNvSpPr>
          <p:nvPr userDrawn="1"/>
        </p:nvSpPr>
        <p:spPr bwMode="auto">
          <a:xfrm>
            <a:off x="333380" y="401626"/>
            <a:ext cx="2087999" cy="765193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6399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 noChangeAspect="1" noEditPoints="1"/>
          </p:cNvSpPr>
          <p:nvPr userDrawn="1"/>
        </p:nvSpPr>
        <p:spPr bwMode="gray">
          <a:xfrm>
            <a:off x="0" y="548680"/>
            <a:ext cx="5068369" cy="4850408"/>
          </a:xfrm>
          <a:custGeom>
            <a:avLst/>
            <a:gdLst/>
            <a:ahLst/>
            <a:cxnLst>
              <a:cxn ang="0">
                <a:pos x="1651" y="0"/>
              </a:cxn>
              <a:cxn ang="0">
                <a:pos x="255" y="0"/>
              </a:cxn>
              <a:cxn ang="0">
                <a:pos x="0" y="861"/>
              </a:cxn>
              <a:cxn ang="0">
                <a:pos x="0" y="1580"/>
              </a:cxn>
              <a:cxn ang="0">
                <a:pos x="1182" y="1580"/>
              </a:cxn>
              <a:cxn ang="0">
                <a:pos x="1651" y="0"/>
              </a:cxn>
              <a:cxn ang="0">
                <a:pos x="1651" y="0"/>
              </a:cxn>
              <a:cxn ang="0">
                <a:pos x="1651" y="0"/>
              </a:cxn>
            </a:cxnLst>
            <a:rect l="0" t="0" r="r" b="b"/>
            <a:pathLst>
              <a:path w="1651" h="1580">
                <a:moveTo>
                  <a:pt x="1651" y="0"/>
                </a:moveTo>
                <a:lnTo>
                  <a:pt x="255" y="0"/>
                </a:lnTo>
                <a:lnTo>
                  <a:pt x="0" y="861"/>
                </a:lnTo>
                <a:lnTo>
                  <a:pt x="0" y="1580"/>
                </a:lnTo>
                <a:lnTo>
                  <a:pt x="1182" y="1580"/>
                </a:lnTo>
                <a:lnTo>
                  <a:pt x="1651" y="0"/>
                </a:lnTo>
                <a:close/>
                <a:moveTo>
                  <a:pt x="1651" y="0"/>
                </a:moveTo>
                <a:lnTo>
                  <a:pt x="16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6" y="1844824"/>
            <a:ext cx="3312368" cy="1943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2769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2769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2769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2769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2769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2769" b="1" dirty="0">
                <a:solidFill>
                  <a:schemeClr val="bg1"/>
                </a:solidFill>
                <a:latin typeface="+mj-lt"/>
              </a:defRPr>
            </a:lvl8pPr>
            <a:lvl9pPr>
              <a:defRPr sz="276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19"/>
          <p:cNvGrpSpPr>
            <a:grpSpLocks/>
          </p:cNvGrpSpPr>
          <p:nvPr userDrawn="1"/>
        </p:nvGrpSpPr>
        <p:grpSpPr bwMode="gray">
          <a:xfrm>
            <a:off x="776537" y="548680"/>
            <a:ext cx="1930547" cy="1080120"/>
            <a:chOff x="68" y="0"/>
            <a:chExt cx="1723" cy="964"/>
          </a:xfrm>
          <a:solidFill>
            <a:schemeClr val="bg1"/>
          </a:solidFill>
        </p:grpSpPr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375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 userDrawn="1"/>
        </p:nvGrpSpPr>
        <p:grpSpPr bwMode="gray">
          <a:xfrm>
            <a:off x="-11111" y="-1"/>
            <a:ext cx="9917112" cy="6858001"/>
            <a:chOff x="-11112" y="-1"/>
            <a:chExt cx="9917112" cy="6858001"/>
          </a:xfrm>
        </p:grpSpPr>
        <p:sp>
          <p:nvSpPr>
            <p:cNvPr id="16" name="Freeform 12"/>
            <p:cNvSpPr>
              <a:spLocks/>
            </p:cNvSpPr>
            <p:nvPr userDrawn="1"/>
          </p:nvSpPr>
          <p:spPr bwMode="gray">
            <a:xfrm>
              <a:off x="-11112" y="-1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gray">
            <a:xfrm>
              <a:off x="2349500" y="1819274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14"/>
            <p:cNvSpPr>
              <a:spLocks/>
            </p:cNvSpPr>
            <p:nvPr userDrawn="1"/>
          </p:nvSpPr>
          <p:spPr bwMode="gray">
            <a:xfrm>
              <a:off x="3421063" y="1819274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sz="1662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 userDrawn="1">
            <p:ph type="title"/>
          </p:nvPr>
        </p:nvSpPr>
        <p:spPr bwMode="gray">
          <a:xfrm>
            <a:off x="5025008" y="2492896"/>
            <a:ext cx="4536504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5025008" y="5013176"/>
            <a:ext cx="4536504" cy="1512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16531" indent="-316531" algn="r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Freeform 10"/>
          <p:cNvSpPr>
            <a:spLocks noChangeAspect="1" noEditPoints="1"/>
          </p:cNvSpPr>
          <p:nvPr userDrawn="1"/>
        </p:nvSpPr>
        <p:spPr bwMode="auto">
          <a:xfrm>
            <a:off x="333380" y="401626"/>
            <a:ext cx="2087999" cy="765193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8387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649538" y="6421438"/>
            <a:ext cx="2232025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8762" y="6421438"/>
            <a:ext cx="2247181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4727" y="548681"/>
            <a:ext cx="1368153" cy="50405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T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136576" y="548681"/>
            <a:ext cx="1368153" cy="50405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addres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269454"/>
            <a:ext cx="4604544" cy="4896396"/>
          </a:xfrm>
        </p:spPr>
        <p:txBody>
          <a:bodyPr>
            <a:noAutofit/>
          </a:bodyPr>
          <a:lstStyle>
            <a:lvl1pPr>
              <a:defRPr sz="738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 sz="738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20469" y="1269454"/>
            <a:ext cx="4604544" cy="4896396"/>
          </a:xfrm>
        </p:spPr>
        <p:txBody>
          <a:bodyPr vert="horz" lIns="0" tIns="0" rIns="0" bIns="0" rtlCol="0">
            <a:noAutofit/>
          </a:bodyPr>
          <a:lstStyle>
            <a:lvl1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5pPr>
            <a:lvl6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6pPr>
            <a:lvl7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7pPr>
            <a:lvl8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8pPr>
            <a:lvl9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GB" sz="738" b="0" kern="1200" noProof="0" dirty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grpSp>
        <p:nvGrpSpPr>
          <p:cNvPr id="2" name="Group 10"/>
          <p:cNvGrpSpPr/>
          <p:nvPr userDrawn="1"/>
        </p:nvGrpSpPr>
        <p:grpSpPr bwMode="gray">
          <a:xfrm>
            <a:off x="175519" y="2"/>
            <a:ext cx="963613" cy="695325"/>
            <a:chOff x="175518" y="0"/>
            <a:chExt cx="963613" cy="695325"/>
          </a:xfrm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7366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269454"/>
            <a:ext cx="4604544" cy="48958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22056" y="1269454"/>
            <a:ext cx="4604544" cy="4895850"/>
          </a:xfrm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5025008" y="188640"/>
            <a:ext cx="4608511" cy="576262"/>
          </a:xfrm>
        </p:spPr>
        <p:txBody>
          <a:bodyPr>
            <a:noAutofit/>
          </a:bodyPr>
          <a:lstStyle>
            <a:lvl1pPr algn="r">
              <a:defRPr b="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7"/>
          <p:cNvGrpSpPr/>
          <p:nvPr userDrawn="1"/>
        </p:nvGrpSpPr>
        <p:grpSpPr bwMode="gray">
          <a:xfrm>
            <a:off x="175519" y="2"/>
            <a:ext cx="963613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2440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0"/>
          <p:cNvGrpSpPr/>
          <p:nvPr userDrawn="1"/>
        </p:nvGrpSpPr>
        <p:grpSpPr bwMode="gray">
          <a:xfrm>
            <a:off x="-11108" y="-1"/>
            <a:ext cx="9917112" cy="6858001"/>
            <a:chOff x="-10601325" y="-457200"/>
            <a:chExt cx="9917112" cy="6858001"/>
          </a:xfrm>
        </p:grpSpPr>
        <p:sp>
          <p:nvSpPr>
            <p:cNvPr id="1036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gray">
            <a:xfrm>
              <a:off x="-8240713" y="1362075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38" name="Freeform 14"/>
            <p:cNvSpPr>
              <a:spLocks/>
            </p:cNvSpPr>
            <p:nvPr userDrawn="1"/>
          </p:nvSpPr>
          <p:spPr bwMode="gray">
            <a:xfrm>
              <a:off x="-7169150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 userDrawn="1">
            <p:ph type="title"/>
          </p:nvPr>
        </p:nvSpPr>
        <p:spPr bwMode="gray">
          <a:xfrm>
            <a:off x="5025012" y="2492896"/>
            <a:ext cx="4535608" cy="223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r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5024442" y="5013325"/>
            <a:ext cx="4537075" cy="15113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algn="r"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lvl="0" indent="-316531" algn="r" defTabSz="844083" rtl="0" eaLnBrk="1" fontAlgn="base" latinLnBrk="0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031" name="Freeform 7"/>
          <p:cNvSpPr>
            <a:spLocks/>
          </p:cNvSpPr>
          <p:nvPr userDrawn="1"/>
        </p:nvSpPr>
        <p:spPr bwMode="auto">
          <a:xfrm>
            <a:off x="-8240709" y="1362075"/>
            <a:ext cx="7556500" cy="5038726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23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23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035" name="Freeform 11"/>
          <p:cNvSpPr>
            <a:spLocks/>
          </p:cNvSpPr>
          <p:nvPr userDrawn="1"/>
        </p:nvSpPr>
        <p:spPr bwMode="auto">
          <a:xfrm>
            <a:off x="-8240709" y="1362075"/>
            <a:ext cx="7556500" cy="5038726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23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037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23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  <p:sp>
        <p:nvSpPr>
          <p:cNvPr id="1039" name="Freeform 15"/>
          <p:cNvSpPr>
            <a:spLocks/>
          </p:cNvSpPr>
          <p:nvPr userDrawn="1"/>
        </p:nvSpPr>
        <p:spPr bwMode="auto">
          <a:xfrm>
            <a:off x="-7169147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923" dirty="0">
              <a:solidFill>
                <a:srgbClr val="000000"/>
              </a:solidFill>
              <a:latin typeface="Univers 45 Light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1347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8281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72481" y="1268760"/>
            <a:ext cx="4609083" cy="4896544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4896544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06518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72481" y="1268760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72481" y="3789363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5023867" y="3789363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4594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wo Chart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4896544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73051" y="1268415"/>
            <a:ext cx="4608513" cy="2376487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0" name="Chart Placeholder 7"/>
          <p:cNvSpPr>
            <a:spLocks noGrp="1"/>
          </p:cNvSpPr>
          <p:nvPr>
            <p:ph type="chart" sz="quarter" idx="13"/>
          </p:nvPr>
        </p:nvSpPr>
        <p:spPr bwMode="gray">
          <a:xfrm>
            <a:off x="273051" y="3789365"/>
            <a:ext cx="4608513" cy="2376487"/>
          </a:xfrm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77193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73051" y="1268415"/>
            <a:ext cx="4608513" cy="23764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73051" y="3789365"/>
            <a:ext cx="4608513" cy="23764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01826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72480" y="1268760"/>
            <a:ext cx="936104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72480" y="3789710"/>
            <a:ext cx="936104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63971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272480" y="3789710"/>
            <a:ext cx="9361040" cy="237614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272480" y="1268415"/>
            <a:ext cx="9359900" cy="23764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62279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67877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2305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>
            <a:spLocks noGrp="1"/>
          </p:cNvSpPr>
          <p:nvPr>
            <p:ph type="title"/>
          </p:nvPr>
        </p:nvSpPr>
        <p:spPr bwMode="gray">
          <a:xfrm>
            <a:off x="323851" y="1440000"/>
            <a:ext cx="4176000" cy="108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t">
            <a:noAutofit/>
          </a:bodyPr>
          <a:lstStyle>
            <a:lvl1pPr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324000" y="2700000"/>
            <a:ext cx="3764904" cy="93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18"/>
          <p:cNvGrpSpPr/>
          <p:nvPr userDrawn="1"/>
        </p:nvGrpSpPr>
        <p:grpSpPr bwMode="gray">
          <a:xfrm>
            <a:off x="175519" y="2"/>
            <a:ext cx="963613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130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1"/>
          <p:cNvSpPr>
            <a:spLocks/>
          </p:cNvSpPr>
          <p:nvPr userDrawn="1"/>
        </p:nvSpPr>
        <p:spPr bwMode="gray">
          <a:xfrm>
            <a:off x="5" y="2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</p:nvPr>
        </p:nvSpPr>
        <p:spPr bwMode="gray">
          <a:xfrm>
            <a:off x="344492" y="1556792"/>
            <a:ext cx="381642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2769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2769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2769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2769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2769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2769" b="1" dirty="0">
                <a:solidFill>
                  <a:schemeClr val="bg1"/>
                </a:solidFill>
                <a:latin typeface="+mj-lt"/>
              </a:defRPr>
            </a:lvl8pPr>
            <a:lvl9pPr>
              <a:defRPr sz="276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Thank you!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resentation by Name Sur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33670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1"/>
          <p:cNvSpPr>
            <a:spLocks/>
          </p:cNvSpPr>
          <p:nvPr userDrawn="1"/>
        </p:nvSpPr>
        <p:spPr bwMode="gray">
          <a:xfrm>
            <a:off x="5" y="2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47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9"/>
          <p:cNvSpPr>
            <a:spLocks noChangeAspect="1"/>
          </p:cNvSpPr>
          <p:nvPr userDrawn="1"/>
        </p:nvSpPr>
        <p:spPr bwMode="white">
          <a:xfrm>
            <a:off x="0" y="0"/>
            <a:ext cx="5218113" cy="5399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505"/>
              </a:cxn>
              <a:cxn ang="0">
                <a:pos x="3691" y="5505"/>
              </a:cxn>
              <a:cxn ang="0">
                <a:pos x="5321" y="0"/>
              </a:cxn>
              <a:cxn ang="0">
                <a:pos x="0" y="0"/>
              </a:cxn>
            </a:cxnLst>
            <a:rect l="0" t="0" r="r" b="b"/>
            <a:pathLst>
              <a:path w="5321" h="5505">
                <a:moveTo>
                  <a:pt x="0" y="0"/>
                </a:moveTo>
                <a:lnTo>
                  <a:pt x="0" y="5505"/>
                </a:lnTo>
                <a:lnTo>
                  <a:pt x="3691" y="5505"/>
                </a:lnTo>
                <a:lnTo>
                  <a:pt x="532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4489" y="1412776"/>
            <a:ext cx="3816424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Freeform 10"/>
          <p:cNvSpPr>
            <a:spLocks noChangeAspect="1" noEditPoints="1"/>
          </p:cNvSpPr>
          <p:nvPr userDrawn="1"/>
        </p:nvSpPr>
        <p:spPr bwMode="auto">
          <a:xfrm>
            <a:off x="333380" y="401626"/>
            <a:ext cx="2087999" cy="765193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431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 noChangeAspect="1" noEditPoints="1"/>
          </p:cNvSpPr>
          <p:nvPr userDrawn="1"/>
        </p:nvSpPr>
        <p:spPr bwMode="gray">
          <a:xfrm>
            <a:off x="0" y="548680"/>
            <a:ext cx="5068369" cy="4850408"/>
          </a:xfrm>
          <a:custGeom>
            <a:avLst/>
            <a:gdLst/>
            <a:ahLst/>
            <a:cxnLst>
              <a:cxn ang="0">
                <a:pos x="1651" y="0"/>
              </a:cxn>
              <a:cxn ang="0">
                <a:pos x="255" y="0"/>
              </a:cxn>
              <a:cxn ang="0">
                <a:pos x="0" y="861"/>
              </a:cxn>
              <a:cxn ang="0">
                <a:pos x="0" y="1580"/>
              </a:cxn>
              <a:cxn ang="0">
                <a:pos x="1182" y="1580"/>
              </a:cxn>
              <a:cxn ang="0">
                <a:pos x="1651" y="0"/>
              </a:cxn>
              <a:cxn ang="0">
                <a:pos x="1651" y="0"/>
              </a:cxn>
              <a:cxn ang="0">
                <a:pos x="1651" y="0"/>
              </a:cxn>
            </a:cxnLst>
            <a:rect l="0" t="0" r="r" b="b"/>
            <a:pathLst>
              <a:path w="1651" h="1580">
                <a:moveTo>
                  <a:pt x="1651" y="0"/>
                </a:moveTo>
                <a:lnTo>
                  <a:pt x="255" y="0"/>
                </a:lnTo>
                <a:lnTo>
                  <a:pt x="0" y="861"/>
                </a:lnTo>
                <a:lnTo>
                  <a:pt x="0" y="1580"/>
                </a:lnTo>
                <a:lnTo>
                  <a:pt x="1182" y="1580"/>
                </a:lnTo>
                <a:lnTo>
                  <a:pt x="1651" y="0"/>
                </a:lnTo>
                <a:close/>
                <a:moveTo>
                  <a:pt x="1651" y="0"/>
                </a:moveTo>
                <a:lnTo>
                  <a:pt x="16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776536" y="1844824"/>
            <a:ext cx="3312368" cy="1943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2769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2769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2769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2769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2769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2769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2769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2769" b="1" dirty="0">
                <a:solidFill>
                  <a:schemeClr val="bg1"/>
                </a:solidFill>
                <a:latin typeface="+mj-lt"/>
              </a:defRPr>
            </a:lvl8pPr>
            <a:lvl9pPr>
              <a:defRPr sz="276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776536" y="4005064"/>
            <a:ext cx="2952328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16531" indent="-316531" algn="l" rtl="0" eaLnBrk="1" fontAlgn="base" hangingPunct="1">
              <a:lnSpc>
                <a:spcPct val="110000"/>
              </a:lnSpc>
              <a:spcBef>
                <a:spcPts val="554"/>
              </a:spcBef>
              <a:spcAft>
                <a:spcPct val="0"/>
              </a:spcAft>
              <a:defRPr lang="en-US" sz="1108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2" name="Group 19"/>
          <p:cNvGrpSpPr>
            <a:grpSpLocks/>
          </p:cNvGrpSpPr>
          <p:nvPr userDrawn="1"/>
        </p:nvGrpSpPr>
        <p:grpSpPr bwMode="gray">
          <a:xfrm>
            <a:off x="776537" y="548680"/>
            <a:ext cx="1930547" cy="1080120"/>
            <a:chOff x="68" y="0"/>
            <a:chExt cx="1723" cy="964"/>
          </a:xfrm>
          <a:solidFill>
            <a:schemeClr val="bg1"/>
          </a:solidFill>
        </p:grpSpPr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8224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649538" y="6421438"/>
            <a:ext cx="2232025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58762" y="6421438"/>
            <a:ext cx="2247181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04727" y="548681"/>
            <a:ext cx="1368153" cy="50405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Tel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136576" y="548681"/>
            <a:ext cx="1368153" cy="504056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addres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269454"/>
            <a:ext cx="4604544" cy="4896396"/>
          </a:xfrm>
        </p:spPr>
        <p:txBody>
          <a:bodyPr>
            <a:noAutofit/>
          </a:bodyPr>
          <a:lstStyle>
            <a:lvl1pPr>
              <a:defRPr sz="738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 sz="738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 sz="738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sz="738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20469" y="1269454"/>
            <a:ext cx="4604544" cy="4896396"/>
          </a:xfrm>
        </p:spPr>
        <p:txBody>
          <a:bodyPr vert="horz" lIns="0" tIns="0" rIns="0" bIns="0" rtlCol="0">
            <a:noAutofit/>
          </a:bodyPr>
          <a:lstStyle>
            <a:lvl1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5pPr>
            <a:lvl6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6pPr>
            <a:lvl7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7pPr>
            <a:lvl8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US" sz="738" b="0" kern="1200" noProof="0" dirty="0" smtClean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8pPr>
            <a:lvl9pPr algn="l" defTabSz="844083" rtl="0" eaLnBrk="1" latinLnBrk="0" hangingPunct="1">
              <a:lnSpc>
                <a:spcPct val="100000"/>
              </a:lnSpc>
              <a:spcBef>
                <a:spcPts val="554"/>
              </a:spcBef>
              <a:buClrTx/>
              <a:buFont typeface="Arial" pitchFamily="34" charset="0"/>
              <a:defRPr lang="en-GB" sz="738" b="0" kern="1200" noProof="0" dirty="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grpSp>
        <p:nvGrpSpPr>
          <p:cNvPr id="2" name="Group 10"/>
          <p:cNvGrpSpPr/>
          <p:nvPr userDrawn="1"/>
        </p:nvGrpSpPr>
        <p:grpSpPr bwMode="gray">
          <a:xfrm>
            <a:off x="175519" y="2"/>
            <a:ext cx="963613" cy="695325"/>
            <a:chOff x="175518" y="0"/>
            <a:chExt cx="963613" cy="695325"/>
          </a:xfrm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3525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4573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/>
          </p:nvPr>
        </p:nvSpPr>
        <p:spPr bwMode="gray">
          <a:xfrm>
            <a:off x="272481" y="1268760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 bwMode="gray">
          <a:xfrm>
            <a:off x="272481" y="3789363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 bwMode="gray">
          <a:xfrm>
            <a:off x="5023867" y="3789363"/>
            <a:ext cx="4609083" cy="2376140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5999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Two Tables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5023867" y="1268760"/>
            <a:ext cx="4609083" cy="4896544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GB" dirty="0"/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 bwMode="gray">
          <a:xfrm>
            <a:off x="273051" y="1268415"/>
            <a:ext cx="4608513" cy="23764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  <p:sp>
        <p:nvSpPr>
          <p:cNvPr id="12" name="Table Placeholder 10"/>
          <p:cNvSpPr>
            <a:spLocks noGrp="1"/>
          </p:cNvSpPr>
          <p:nvPr>
            <p:ph type="tbl" sz="quarter" idx="13"/>
          </p:nvPr>
        </p:nvSpPr>
        <p:spPr bwMode="gray">
          <a:xfrm>
            <a:off x="273051" y="3789365"/>
            <a:ext cx="4608513" cy="2376487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2127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89175" y="6309320"/>
            <a:ext cx="1727200" cy="4320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0"/>
            <a:ext cx="4607941" cy="4535487"/>
          </a:xfrm>
        </p:spPr>
        <p:txBody>
          <a:bodyPr/>
          <a:lstStyle>
            <a:lvl1pPr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2" name="Group 18"/>
          <p:cNvGrpSpPr/>
          <p:nvPr userDrawn="1"/>
        </p:nvGrpSpPr>
        <p:grpSpPr bwMode="gray">
          <a:xfrm>
            <a:off x="175519" y="2"/>
            <a:ext cx="963613" cy="695325"/>
            <a:chOff x="175518" y="0"/>
            <a:chExt cx="963613" cy="695325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4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3103290" y="548682"/>
            <a:ext cx="184971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Tel</a:t>
            </a:r>
            <a:endParaRPr lang="en-GB" dirty="0"/>
          </a:p>
        </p:txBody>
      </p:sp>
      <p:sp>
        <p:nvSpPr>
          <p:cNvPr id="29" name="Text Placeholder 4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1136576" y="548682"/>
            <a:ext cx="1800200" cy="50482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KPMG address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/>
          </p:nvPr>
        </p:nvSpPr>
        <p:spPr bwMode="gray">
          <a:xfrm>
            <a:off x="5025009" y="1557340"/>
            <a:ext cx="4607941" cy="4535487"/>
          </a:xfrm>
        </p:spPr>
        <p:txBody>
          <a:bodyPr/>
          <a:lstStyle>
            <a:lvl1pPr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tabLst>
                <a:tab pos="4220413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826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767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7"/>
          <p:cNvSpPr>
            <a:spLocks noChangeAspect="1"/>
          </p:cNvSpPr>
          <p:nvPr userDrawn="1"/>
        </p:nvSpPr>
        <p:spPr bwMode="gray">
          <a:xfrm>
            <a:off x="0" y="0"/>
            <a:ext cx="5218113" cy="32400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405"/>
              </a:cxn>
              <a:cxn ang="0">
                <a:pos x="16308" y="12405"/>
              </a:cxn>
              <a:cxn ang="0">
                <a:pos x="19984" y="0"/>
              </a:cxn>
              <a:cxn ang="0">
                <a:pos x="0" y="0"/>
              </a:cxn>
            </a:cxnLst>
            <a:rect l="0" t="0" r="r" b="b"/>
            <a:pathLst>
              <a:path w="19984" h="12405">
                <a:moveTo>
                  <a:pt x="0" y="0"/>
                </a:moveTo>
                <a:lnTo>
                  <a:pt x="0" y="12405"/>
                </a:lnTo>
                <a:lnTo>
                  <a:pt x="16308" y="12405"/>
                </a:lnTo>
                <a:lnTo>
                  <a:pt x="19984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4291200"/>
            <a:ext cx="4013350" cy="18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923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" name="Group 19"/>
          <p:cNvGrpSpPr>
            <a:grpSpLocks/>
          </p:cNvGrpSpPr>
          <p:nvPr userDrawn="1"/>
        </p:nvGrpSpPr>
        <p:grpSpPr bwMode="gray">
          <a:xfrm>
            <a:off x="128465" y="0"/>
            <a:ext cx="2735263" cy="1530350"/>
            <a:chOff x="68" y="0"/>
            <a:chExt cx="1723" cy="964"/>
          </a:xfrm>
        </p:grpSpPr>
        <p:sp>
          <p:nvSpPr>
            <p:cNvPr id="7" name="Freeform 8"/>
            <p:cNvSpPr>
              <a:spLocks noEditPoints="1"/>
            </p:cNvSpPr>
            <p:nvPr userDrawn="1"/>
          </p:nvSpPr>
          <p:spPr bwMode="gray">
            <a:xfrm>
              <a:off x="199" y="248"/>
              <a:ext cx="1423" cy="489"/>
            </a:xfrm>
            <a:custGeom>
              <a:avLst/>
              <a:gdLst>
                <a:gd name="T0" fmla="*/ 1974 w 4103"/>
                <a:gd name="T1" fmla="*/ 485 h 1409"/>
                <a:gd name="T2" fmla="*/ 2267 w 4103"/>
                <a:gd name="T3" fmla="*/ 697 h 1409"/>
                <a:gd name="T4" fmla="*/ 1655 w 4103"/>
                <a:gd name="T5" fmla="*/ 656 h 1409"/>
                <a:gd name="T6" fmla="*/ 1718 w 4103"/>
                <a:gd name="T7" fmla="*/ 424 h 1409"/>
                <a:gd name="T8" fmla="*/ 970 w 4103"/>
                <a:gd name="T9" fmla="*/ 697 h 1409"/>
                <a:gd name="T10" fmla="*/ 1169 w 4103"/>
                <a:gd name="T11" fmla="*/ 416 h 1409"/>
                <a:gd name="T12" fmla="*/ 719 w 4103"/>
                <a:gd name="T13" fmla="*/ 631 h 1409"/>
                <a:gd name="T14" fmla="*/ 751 w 4103"/>
                <a:gd name="T15" fmla="*/ 630 h 1409"/>
                <a:gd name="T16" fmla="*/ 202 w 4103"/>
                <a:gd name="T17" fmla="*/ 618 h 1409"/>
                <a:gd name="T18" fmla="*/ 180 w 4103"/>
                <a:gd name="T19" fmla="*/ 697 h 1409"/>
                <a:gd name="T20" fmla="*/ 1187 w 4103"/>
                <a:gd name="T21" fmla="*/ 416 h 1409"/>
                <a:gd name="T22" fmla="*/ 115 w 4103"/>
                <a:gd name="T23" fmla="*/ 906 h 1409"/>
                <a:gd name="T24" fmla="*/ 661 w 4103"/>
                <a:gd name="T25" fmla="*/ 715 h 1409"/>
                <a:gd name="T26" fmla="*/ 1145 w 4103"/>
                <a:gd name="T27" fmla="*/ 715 h 1409"/>
                <a:gd name="T28" fmla="*/ 1697 w 4103"/>
                <a:gd name="T29" fmla="*/ 863 h 1409"/>
                <a:gd name="T30" fmla="*/ 203 w 4103"/>
                <a:gd name="T31" fmla="*/ 1286 h 1409"/>
                <a:gd name="T32" fmla="*/ 250 w 4103"/>
                <a:gd name="T33" fmla="*/ 1328 h 1409"/>
                <a:gd name="T34" fmla="*/ 556 w 4103"/>
                <a:gd name="T35" fmla="*/ 1196 h 1409"/>
                <a:gd name="T36" fmla="*/ 340 w 4103"/>
                <a:gd name="T37" fmla="*/ 1196 h 1409"/>
                <a:gd name="T38" fmla="*/ 408 w 4103"/>
                <a:gd name="T39" fmla="*/ 1225 h 1409"/>
                <a:gd name="T40" fmla="*/ 514 w 4103"/>
                <a:gd name="T41" fmla="*/ 1225 h 1409"/>
                <a:gd name="T42" fmla="*/ 631 w 4103"/>
                <a:gd name="T43" fmla="*/ 1168 h 1409"/>
                <a:gd name="T44" fmla="*/ 794 w 4103"/>
                <a:gd name="T45" fmla="*/ 1220 h 1409"/>
                <a:gd name="T46" fmla="*/ 672 w 4103"/>
                <a:gd name="T47" fmla="*/ 1348 h 1409"/>
                <a:gd name="T48" fmla="*/ 847 w 4103"/>
                <a:gd name="T49" fmla="*/ 1359 h 1409"/>
                <a:gd name="T50" fmla="*/ 943 w 4103"/>
                <a:gd name="T51" fmla="*/ 1196 h 1409"/>
                <a:gd name="T52" fmla="*/ 1129 w 4103"/>
                <a:gd name="T53" fmla="*/ 1351 h 1409"/>
                <a:gd name="T54" fmla="*/ 1198 w 4103"/>
                <a:gd name="T55" fmla="*/ 1196 h 1409"/>
                <a:gd name="T56" fmla="*/ 1280 w 4103"/>
                <a:gd name="T57" fmla="*/ 1129 h 1409"/>
                <a:gd name="T58" fmla="*/ 1253 w 4103"/>
                <a:gd name="T59" fmla="*/ 1254 h 1409"/>
                <a:gd name="T60" fmla="*/ 1489 w 4103"/>
                <a:gd name="T61" fmla="*/ 1194 h 1409"/>
                <a:gd name="T62" fmla="*/ 1546 w 4103"/>
                <a:gd name="T63" fmla="*/ 1353 h 1409"/>
                <a:gd name="T64" fmla="*/ 1714 w 4103"/>
                <a:gd name="T65" fmla="*/ 1286 h 1409"/>
                <a:gd name="T66" fmla="*/ 1761 w 4103"/>
                <a:gd name="T67" fmla="*/ 1328 h 1409"/>
                <a:gd name="T68" fmla="*/ 1976 w 4103"/>
                <a:gd name="T69" fmla="*/ 1346 h 1409"/>
                <a:gd name="T70" fmla="*/ 1842 w 4103"/>
                <a:gd name="T71" fmla="*/ 1270 h 1409"/>
                <a:gd name="T72" fmla="*/ 1887 w 4103"/>
                <a:gd name="T73" fmla="*/ 1270 h 1409"/>
                <a:gd name="T74" fmla="*/ 2110 w 4103"/>
                <a:gd name="T75" fmla="*/ 1348 h 1409"/>
                <a:gd name="T76" fmla="*/ 87 w 4103"/>
                <a:gd name="T77" fmla="*/ 1221 h 1409"/>
                <a:gd name="T78" fmla="*/ 5 w 4103"/>
                <a:gd name="T79" fmla="*/ 1271 h 1409"/>
                <a:gd name="T80" fmla="*/ 2343 w 4103"/>
                <a:gd name="T81" fmla="*/ 1322 h 1409"/>
                <a:gd name="T82" fmla="*/ 2378 w 4103"/>
                <a:gd name="T83" fmla="*/ 1249 h 1409"/>
                <a:gd name="T84" fmla="*/ 2528 w 4103"/>
                <a:gd name="T85" fmla="*/ 1221 h 1409"/>
                <a:gd name="T86" fmla="*/ 2832 w 4103"/>
                <a:gd name="T87" fmla="*/ 1192 h 1409"/>
                <a:gd name="T88" fmla="*/ 2709 w 4103"/>
                <a:gd name="T89" fmla="*/ 1348 h 1409"/>
                <a:gd name="T90" fmla="*/ 2963 w 4103"/>
                <a:gd name="T91" fmla="*/ 1216 h 1409"/>
                <a:gd name="T92" fmla="*/ 2966 w 4103"/>
                <a:gd name="T93" fmla="*/ 1195 h 1409"/>
                <a:gd name="T94" fmla="*/ 3072 w 4103"/>
                <a:gd name="T95" fmla="*/ 1348 h 1409"/>
                <a:gd name="T96" fmla="*/ 3168 w 4103"/>
                <a:gd name="T97" fmla="*/ 1335 h 1409"/>
                <a:gd name="T98" fmla="*/ 3246 w 4103"/>
                <a:gd name="T99" fmla="*/ 1220 h 1409"/>
                <a:gd name="T100" fmla="*/ 3457 w 4103"/>
                <a:gd name="T101" fmla="*/ 1348 h 1409"/>
                <a:gd name="T102" fmla="*/ 3509 w 4103"/>
                <a:gd name="T103" fmla="*/ 1194 h 1409"/>
                <a:gd name="T104" fmla="*/ 3513 w 4103"/>
                <a:gd name="T105" fmla="*/ 1168 h 1409"/>
                <a:gd name="T106" fmla="*/ 3601 w 4103"/>
                <a:gd name="T107" fmla="*/ 1196 h 1409"/>
                <a:gd name="T108" fmla="*/ 3656 w 4103"/>
                <a:gd name="T109" fmla="*/ 1317 h 1409"/>
                <a:gd name="T110" fmla="*/ 3687 w 4103"/>
                <a:gd name="T111" fmla="*/ 1406 h 1409"/>
                <a:gd name="T112" fmla="*/ 3987 w 4103"/>
                <a:gd name="T113" fmla="*/ 1145 h 1409"/>
                <a:gd name="T114" fmla="*/ 4072 w 4103"/>
                <a:gd name="T115" fmla="*/ 1129 h 1409"/>
                <a:gd name="T116" fmla="*/ 3978 w 4103"/>
                <a:gd name="T117" fmla="*/ 1225 h 140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103"/>
                <a:gd name="T178" fmla="*/ 0 h 1409"/>
                <a:gd name="T179" fmla="*/ 4103 w 4103"/>
                <a:gd name="T180" fmla="*/ 1409 h 140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103" h="1409">
                  <a:moveTo>
                    <a:pt x="2267" y="697"/>
                  </a:moveTo>
                  <a:cubicBezTo>
                    <a:pt x="2149" y="697"/>
                    <a:pt x="2149" y="697"/>
                    <a:pt x="2149" y="697"/>
                  </a:cubicBezTo>
                  <a:cubicBezTo>
                    <a:pt x="2168" y="619"/>
                    <a:pt x="2168" y="619"/>
                    <a:pt x="2168" y="619"/>
                  </a:cubicBezTo>
                  <a:cubicBezTo>
                    <a:pt x="1930" y="619"/>
                    <a:pt x="1930" y="619"/>
                    <a:pt x="1930" y="619"/>
                  </a:cubicBezTo>
                  <a:cubicBezTo>
                    <a:pt x="1911" y="697"/>
                    <a:pt x="1911" y="697"/>
                    <a:pt x="1911" y="697"/>
                  </a:cubicBezTo>
                  <a:cubicBezTo>
                    <a:pt x="1796" y="697"/>
                    <a:pt x="1796" y="697"/>
                    <a:pt x="1796" y="697"/>
                  </a:cubicBezTo>
                  <a:cubicBezTo>
                    <a:pt x="1796" y="681"/>
                    <a:pt x="1796" y="681"/>
                    <a:pt x="1796" y="681"/>
                  </a:cubicBezTo>
                  <a:cubicBezTo>
                    <a:pt x="1798" y="672"/>
                    <a:pt x="1799" y="663"/>
                    <a:pt x="1802" y="653"/>
                  </a:cubicBezTo>
                  <a:cubicBezTo>
                    <a:pt x="1823" y="569"/>
                    <a:pt x="1878" y="485"/>
                    <a:pt x="1974" y="485"/>
                  </a:cubicBezTo>
                  <a:cubicBezTo>
                    <a:pt x="2012" y="485"/>
                    <a:pt x="2050" y="499"/>
                    <a:pt x="2045" y="552"/>
                  </a:cubicBezTo>
                  <a:cubicBezTo>
                    <a:pt x="2186" y="552"/>
                    <a:pt x="2186" y="552"/>
                    <a:pt x="2186" y="552"/>
                  </a:cubicBezTo>
                  <a:cubicBezTo>
                    <a:pt x="2192" y="527"/>
                    <a:pt x="2201" y="486"/>
                    <a:pt x="2174" y="447"/>
                  </a:cubicBezTo>
                  <a:cubicBezTo>
                    <a:pt x="2145" y="406"/>
                    <a:pt x="2084" y="389"/>
                    <a:pt x="2005" y="389"/>
                  </a:cubicBezTo>
                  <a:cubicBezTo>
                    <a:pt x="1949" y="389"/>
                    <a:pt x="1867" y="398"/>
                    <a:pt x="1796" y="444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7" y="18"/>
                    <a:pt x="2267" y="18"/>
                    <a:pt x="2267" y="18"/>
                  </a:cubicBezTo>
                  <a:cubicBezTo>
                    <a:pt x="2267" y="697"/>
                    <a:pt x="2267" y="697"/>
                    <a:pt x="2267" y="697"/>
                  </a:cubicBezTo>
                  <a:cubicBezTo>
                    <a:pt x="2267" y="697"/>
                    <a:pt x="2267" y="697"/>
                    <a:pt x="2267" y="697"/>
                  </a:cubicBezTo>
                  <a:close/>
                  <a:moveTo>
                    <a:pt x="1989" y="812"/>
                  </a:moveTo>
                  <a:cubicBezTo>
                    <a:pt x="1962" y="817"/>
                    <a:pt x="1936" y="820"/>
                    <a:pt x="1910" y="820"/>
                  </a:cubicBezTo>
                  <a:cubicBezTo>
                    <a:pt x="1842" y="820"/>
                    <a:pt x="1795" y="788"/>
                    <a:pt x="1794" y="715"/>
                  </a:cubicBezTo>
                  <a:cubicBezTo>
                    <a:pt x="2014" y="715"/>
                    <a:pt x="2014" y="715"/>
                    <a:pt x="2014" y="715"/>
                  </a:cubicBezTo>
                  <a:cubicBezTo>
                    <a:pt x="1989" y="812"/>
                    <a:pt x="1989" y="812"/>
                    <a:pt x="1989" y="812"/>
                  </a:cubicBezTo>
                  <a:cubicBezTo>
                    <a:pt x="1989" y="812"/>
                    <a:pt x="1989" y="812"/>
                    <a:pt x="1989" y="812"/>
                  </a:cubicBezTo>
                  <a:close/>
                  <a:moveTo>
                    <a:pt x="1718" y="424"/>
                  </a:moveTo>
                  <a:cubicBezTo>
                    <a:pt x="1718" y="521"/>
                    <a:pt x="1718" y="521"/>
                    <a:pt x="1718" y="521"/>
                  </a:cubicBezTo>
                  <a:cubicBezTo>
                    <a:pt x="1685" y="567"/>
                    <a:pt x="1665" y="616"/>
                    <a:pt x="1655" y="656"/>
                  </a:cubicBezTo>
                  <a:cubicBezTo>
                    <a:pt x="1651" y="670"/>
                    <a:pt x="1649" y="684"/>
                    <a:pt x="1648" y="697"/>
                  </a:cubicBezTo>
                  <a:cubicBezTo>
                    <a:pt x="1578" y="697"/>
                    <a:pt x="1578" y="697"/>
                    <a:pt x="1578" y="697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8" y="416"/>
                    <a:pt x="1438" y="416"/>
                    <a:pt x="1438" y="416"/>
                  </a:cubicBezTo>
                  <a:cubicBezTo>
                    <a:pt x="1260" y="697"/>
                    <a:pt x="1260" y="697"/>
                    <a:pt x="1260" y="697"/>
                  </a:cubicBezTo>
                  <a:cubicBezTo>
                    <a:pt x="1247" y="697"/>
                    <a:pt x="1247" y="697"/>
                    <a:pt x="1247" y="697"/>
                  </a:cubicBezTo>
                  <a:cubicBezTo>
                    <a:pt x="1247" y="18"/>
                    <a:pt x="1247" y="18"/>
                    <a:pt x="1247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4"/>
                    <a:pt x="1718" y="424"/>
                    <a:pt x="1718" y="424"/>
                  </a:cubicBezTo>
                  <a:cubicBezTo>
                    <a:pt x="1718" y="424"/>
                    <a:pt x="1718" y="424"/>
                    <a:pt x="1718" y="424"/>
                  </a:cubicBezTo>
                  <a:close/>
                  <a:moveTo>
                    <a:pt x="1455" y="697"/>
                  </a:moveTo>
                  <a:cubicBezTo>
                    <a:pt x="1384" y="697"/>
                    <a:pt x="1384" y="697"/>
                    <a:pt x="1384" y="697"/>
                  </a:cubicBezTo>
                  <a:cubicBezTo>
                    <a:pt x="1491" y="529"/>
                    <a:pt x="1491" y="529"/>
                    <a:pt x="1491" y="529"/>
                  </a:cubicBezTo>
                  <a:cubicBezTo>
                    <a:pt x="1455" y="697"/>
                    <a:pt x="1455" y="697"/>
                    <a:pt x="1455" y="697"/>
                  </a:cubicBezTo>
                  <a:cubicBezTo>
                    <a:pt x="1455" y="697"/>
                    <a:pt x="1455" y="697"/>
                    <a:pt x="1455" y="697"/>
                  </a:cubicBezTo>
                  <a:close/>
                  <a:moveTo>
                    <a:pt x="1169" y="416"/>
                  </a:moveTo>
                  <a:cubicBezTo>
                    <a:pt x="1051" y="416"/>
                    <a:pt x="1051" y="416"/>
                    <a:pt x="1051" y="416"/>
                  </a:cubicBezTo>
                  <a:cubicBezTo>
                    <a:pt x="970" y="697"/>
                    <a:pt x="970" y="697"/>
                    <a:pt x="970" y="697"/>
                  </a:cubicBezTo>
                  <a:cubicBezTo>
                    <a:pt x="845" y="697"/>
                    <a:pt x="845" y="697"/>
                    <a:pt x="845" y="697"/>
                  </a:cubicBezTo>
                  <a:cubicBezTo>
                    <a:pt x="909" y="674"/>
                    <a:pt x="948" y="629"/>
                    <a:pt x="960" y="562"/>
                  </a:cubicBezTo>
                  <a:cubicBezTo>
                    <a:pt x="970" y="510"/>
                    <a:pt x="965" y="476"/>
                    <a:pt x="944" y="451"/>
                  </a:cubicBezTo>
                  <a:cubicBezTo>
                    <a:pt x="912" y="413"/>
                    <a:pt x="848" y="416"/>
                    <a:pt x="792" y="416"/>
                  </a:cubicBezTo>
                  <a:cubicBezTo>
                    <a:pt x="782" y="416"/>
                    <a:pt x="698" y="416"/>
                    <a:pt x="698" y="416"/>
                  </a:cubicBezTo>
                  <a:cubicBezTo>
                    <a:pt x="698" y="18"/>
                    <a:pt x="698" y="18"/>
                    <a:pt x="698" y="18"/>
                  </a:cubicBezTo>
                  <a:cubicBezTo>
                    <a:pt x="1169" y="18"/>
                    <a:pt x="1169" y="18"/>
                    <a:pt x="1169" y="18"/>
                  </a:cubicBezTo>
                  <a:cubicBezTo>
                    <a:pt x="1169" y="416"/>
                    <a:pt x="1169" y="416"/>
                    <a:pt x="1169" y="416"/>
                  </a:cubicBezTo>
                  <a:cubicBezTo>
                    <a:pt x="1169" y="416"/>
                    <a:pt x="1169" y="416"/>
                    <a:pt x="1169" y="416"/>
                  </a:cubicBezTo>
                  <a:close/>
                  <a:moveTo>
                    <a:pt x="1094" y="697"/>
                  </a:moveTo>
                  <a:cubicBezTo>
                    <a:pt x="1143" y="521"/>
                    <a:pt x="1143" y="521"/>
                    <a:pt x="1143" y="521"/>
                  </a:cubicBezTo>
                  <a:cubicBezTo>
                    <a:pt x="1145" y="697"/>
                    <a:pt x="1145" y="697"/>
                    <a:pt x="1145" y="697"/>
                  </a:cubicBezTo>
                  <a:cubicBezTo>
                    <a:pt x="1094" y="697"/>
                    <a:pt x="1094" y="697"/>
                    <a:pt x="1094" y="697"/>
                  </a:cubicBezTo>
                  <a:cubicBezTo>
                    <a:pt x="1094" y="697"/>
                    <a:pt x="1094" y="697"/>
                    <a:pt x="1094" y="697"/>
                  </a:cubicBezTo>
                  <a:close/>
                  <a:moveTo>
                    <a:pt x="751" y="630"/>
                  </a:moveTo>
                  <a:cubicBezTo>
                    <a:pt x="751" y="630"/>
                    <a:pt x="751" y="630"/>
                    <a:pt x="751" y="630"/>
                  </a:cubicBezTo>
                  <a:cubicBezTo>
                    <a:pt x="746" y="630"/>
                    <a:pt x="741" y="631"/>
                    <a:pt x="736" y="631"/>
                  </a:cubicBezTo>
                  <a:cubicBezTo>
                    <a:pt x="729" y="631"/>
                    <a:pt x="724" y="631"/>
                    <a:pt x="719" y="631"/>
                  </a:cubicBezTo>
                  <a:cubicBezTo>
                    <a:pt x="689" y="631"/>
                    <a:pt x="689" y="631"/>
                    <a:pt x="689" y="631"/>
                  </a:cubicBezTo>
                  <a:cubicBezTo>
                    <a:pt x="703" y="579"/>
                    <a:pt x="703" y="579"/>
                    <a:pt x="703" y="579"/>
                  </a:cubicBezTo>
                  <a:cubicBezTo>
                    <a:pt x="709" y="554"/>
                    <a:pt x="709" y="554"/>
                    <a:pt x="709" y="554"/>
                  </a:cubicBezTo>
                  <a:cubicBezTo>
                    <a:pt x="725" y="494"/>
                    <a:pt x="725" y="494"/>
                    <a:pt x="725" y="494"/>
                  </a:cubicBezTo>
                  <a:cubicBezTo>
                    <a:pt x="732" y="494"/>
                    <a:pt x="739" y="494"/>
                    <a:pt x="746" y="494"/>
                  </a:cubicBezTo>
                  <a:cubicBezTo>
                    <a:pt x="769" y="494"/>
                    <a:pt x="769" y="494"/>
                    <a:pt x="769" y="494"/>
                  </a:cubicBezTo>
                  <a:cubicBezTo>
                    <a:pt x="809" y="494"/>
                    <a:pt x="834" y="496"/>
                    <a:pt x="843" y="509"/>
                  </a:cubicBezTo>
                  <a:cubicBezTo>
                    <a:pt x="850" y="518"/>
                    <a:pt x="849" y="535"/>
                    <a:pt x="841" y="560"/>
                  </a:cubicBezTo>
                  <a:cubicBezTo>
                    <a:pt x="827" y="603"/>
                    <a:pt x="809" y="626"/>
                    <a:pt x="751" y="630"/>
                  </a:cubicBezTo>
                  <a:moveTo>
                    <a:pt x="620" y="441"/>
                  </a:moveTo>
                  <a:cubicBezTo>
                    <a:pt x="613" y="465"/>
                    <a:pt x="613" y="465"/>
                    <a:pt x="613" y="465"/>
                  </a:cubicBezTo>
                  <a:cubicBezTo>
                    <a:pt x="545" y="689"/>
                    <a:pt x="545" y="689"/>
                    <a:pt x="545" y="689"/>
                  </a:cubicBezTo>
                  <a:cubicBezTo>
                    <a:pt x="542" y="697"/>
                    <a:pt x="542" y="697"/>
                    <a:pt x="542" y="697"/>
                  </a:cubicBezTo>
                  <a:cubicBezTo>
                    <a:pt x="321" y="697"/>
                    <a:pt x="321" y="697"/>
                    <a:pt x="321" y="697"/>
                  </a:cubicBezTo>
                  <a:cubicBezTo>
                    <a:pt x="303" y="661"/>
                    <a:pt x="303" y="661"/>
                    <a:pt x="303" y="661"/>
                  </a:cubicBezTo>
                  <a:cubicBezTo>
                    <a:pt x="542" y="417"/>
                    <a:pt x="542" y="417"/>
                    <a:pt x="542" y="417"/>
                  </a:cubicBezTo>
                  <a:cubicBezTo>
                    <a:pt x="389" y="417"/>
                    <a:pt x="389" y="417"/>
                    <a:pt x="389" y="417"/>
                  </a:cubicBezTo>
                  <a:cubicBezTo>
                    <a:pt x="202" y="618"/>
                    <a:pt x="202" y="618"/>
                    <a:pt x="202" y="618"/>
                  </a:cubicBezTo>
                  <a:cubicBezTo>
                    <a:pt x="262" y="417"/>
                    <a:pt x="262" y="417"/>
                    <a:pt x="262" y="417"/>
                  </a:cubicBezTo>
                  <a:cubicBezTo>
                    <a:pt x="149" y="417"/>
                    <a:pt x="149" y="417"/>
                    <a:pt x="149" y="417"/>
                  </a:cubicBezTo>
                  <a:cubicBezTo>
                    <a:pt x="149" y="18"/>
                    <a:pt x="149" y="18"/>
                    <a:pt x="149" y="18"/>
                  </a:cubicBezTo>
                  <a:cubicBezTo>
                    <a:pt x="620" y="18"/>
                    <a:pt x="620" y="18"/>
                    <a:pt x="620" y="18"/>
                  </a:cubicBezTo>
                  <a:cubicBezTo>
                    <a:pt x="620" y="441"/>
                    <a:pt x="620" y="441"/>
                    <a:pt x="620" y="441"/>
                  </a:cubicBezTo>
                  <a:cubicBezTo>
                    <a:pt x="620" y="441"/>
                    <a:pt x="620" y="441"/>
                    <a:pt x="620" y="441"/>
                  </a:cubicBezTo>
                  <a:close/>
                  <a:moveTo>
                    <a:pt x="178" y="697"/>
                  </a:moveTo>
                  <a:cubicBezTo>
                    <a:pt x="179" y="695"/>
                    <a:pt x="179" y="695"/>
                    <a:pt x="179" y="695"/>
                  </a:cubicBezTo>
                  <a:cubicBezTo>
                    <a:pt x="180" y="697"/>
                    <a:pt x="180" y="697"/>
                    <a:pt x="180" y="697"/>
                  </a:cubicBezTo>
                  <a:cubicBezTo>
                    <a:pt x="178" y="697"/>
                    <a:pt x="178" y="697"/>
                    <a:pt x="178" y="697"/>
                  </a:cubicBezTo>
                  <a:cubicBezTo>
                    <a:pt x="178" y="697"/>
                    <a:pt x="178" y="697"/>
                    <a:pt x="178" y="697"/>
                  </a:cubicBezTo>
                  <a:close/>
                  <a:moveTo>
                    <a:pt x="1778" y="0"/>
                  </a:moveTo>
                  <a:cubicBezTo>
                    <a:pt x="1778" y="457"/>
                    <a:pt x="1778" y="457"/>
                    <a:pt x="1778" y="457"/>
                  </a:cubicBezTo>
                  <a:cubicBezTo>
                    <a:pt x="1763" y="469"/>
                    <a:pt x="1749" y="483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6"/>
                    <a:pt x="1229" y="416"/>
                    <a:pt x="1229" y="416"/>
                  </a:cubicBezTo>
                  <a:cubicBezTo>
                    <a:pt x="1187" y="416"/>
                    <a:pt x="1187" y="416"/>
                    <a:pt x="1187" y="416"/>
                  </a:cubicBezTo>
                  <a:cubicBezTo>
                    <a:pt x="1187" y="0"/>
                    <a:pt x="1187" y="0"/>
                    <a:pt x="1187" y="0"/>
                  </a:cubicBezTo>
                  <a:cubicBezTo>
                    <a:pt x="680" y="0"/>
                    <a:pt x="680" y="0"/>
                    <a:pt x="680" y="0"/>
                  </a:cubicBezTo>
                  <a:cubicBezTo>
                    <a:pt x="680" y="417"/>
                    <a:pt x="680" y="417"/>
                    <a:pt x="680" y="417"/>
                  </a:cubicBezTo>
                  <a:cubicBezTo>
                    <a:pt x="638" y="417"/>
                    <a:pt x="638" y="417"/>
                    <a:pt x="638" y="417"/>
                  </a:cubicBezTo>
                  <a:cubicBezTo>
                    <a:pt x="638" y="0"/>
                    <a:pt x="638" y="0"/>
                    <a:pt x="638" y="0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31" y="475"/>
                    <a:pt x="131" y="475"/>
                    <a:pt x="131" y="475"/>
                  </a:cubicBezTo>
                  <a:cubicBezTo>
                    <a:pt x="2" y="906"/>
                    <a:pt x="2" y="906"/>
                    <a:pt x="2" y="906"/>
                  </a:cubicBezTo>
                  <a:cubicBezTo>
                    <a:pt x="115" y="906"/>
                    <a:pt x="115" y="906"/>
                    <a:pt x="115" y="906"/>
                  </a:cubicBezTo>
                  <a:cubicBezTo>
                    <a:pt x="173" y="715"/>
                    <a:pt x="173" y="715"/>
                    <a:pt x="173" y="715"/>
                  </a:cubicBezTo>
                  <a:cubicBezTo>
                    <a:pt x="189" y="715"/>
                    <a:pt x="189" y="715"/>
                    <a:pt x="189" y="715"/>
                  </a:cubicBezTo>
                  <a:cubicBezTo>
                    <a:pt x="283" y="906"/>
                    <a:pt x="283" y="906"/>
                    <a:pt x="283" y="906"/>
                  </a:cubicBezTo>
                  <a:cubicBezTo>
                    <a:pt x="421" y="906"/>
                    <a:pt x="421" y="906"/>
                    <a:pt x="421" y="906"/>
                  </a:cubicBezTo>
                  <a:cubicBezTo>
                    <a:pt x="329" y="715"/>
                    <a:pt x="329" y="715"/>
                    <a:pt x="329" y="715"/>
                  </a:cubicBezTo>
                  <a:cubicBezTo>
                    <a:pt x="537" y="715"/>
                    <a:pt x="537" y="715"/>
                    <a:pt x="537" y="715"/>
                  </a:cubicBezTo>
                  <a:cubicBezTo>
                    <a:pt x="479" y="906"/>
                    <a:pt x="479" y="906"/>
                    <a:pt x="479" y="906"/>
                  </a:cubicBezTo>
                  <a:cubicBezTo>
                    <a:pt x="604" y="906"/>
                    <a:pt x="604" y="906"/>
                    <a:pt x="604" y="906"/>
                  </a:cubicBezTo>
                  <a:cubicBezTo>
                    <a:pt x="661" y="715"/>
                    <a:pt x="661" y="715"/>
                    <a:pt x="661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688" y="715"/>
                    <a:pt x="688" y="715"/>
                    <a:pt x="688" y="715"/>
                  </a:cubicBezTo>
                  <a:cubicBezTo>
                    <a:pt x="727" y="715"/>
                    <a:pt x="727" y="715"/>
                    <a:pt x="727" y="715"/>
                  </a:cubicBezTo>
                  <a:cubicBezTo>
                    <a:pt x="730" y="715"/>
                    <a:pt x="730" y="715"/>
                    <a:pt x="730" y="715"/>
                  </a:cubicBezTo>
                  <a:cubicBezTo>
                    <a:pt x="965" y="715"/>
                    <a:pt x="965" y="715"/>
                    <a:pt x="965" y="715"/>
                  </a:cubicBezTo>
                  <a:cubicBezTo>
                    <a:pt x="910" y="905"/>
                    <a:pt x="910" y="905"/>
                    <a:pt x="910" y="905"/>
                  </a:cubicBezTo>
                  <a:cubicBezTo>
                    <a:pt x="1035" y="905"/>
                    <a:pt x="1035" y="905"/>
                    <a:pt x="1035" y="905"/>
                  </a:cubicBezTo>
                  <a:cubicBezTo>
                    <a:pt x="1088" y="715"/>
                    <a:pt x="1088" y="715"/>
                    <a:pt x="1088" y="715"/>
                  </a:cubicBezTo>
                  <a:cubicBezTo>
                    <a:pt x="1145" y="715"/>
                    <a:pt x="1145" y="715"/>
                    <a:pt x="1145" y="715"/>
                  </a:cubicBezTo>
                  <a:cubicBezTo>
                    <a:pt x="1146" y="905"/>
                    <a:pt x="1146" y="905"/>
                    <a:pt x="1146" y="905"/>
                  </a:cubicBezTo>
                  <a:cubicBezTo>
                    <a:pt x="1252" y="905"/>
                    <a:pt x="1252" y="905"/>
                    <a:pt x="1252" y="905"/>
                  </a:cubicBezTo>
                  <a:cubicBezTo>
                    <a:pt x="1372" y="715"/>
                    <a:pt x="1372" y="715"/>
                    <a:pt x="1372" y="715"/>
                  </a:cubicBezTo>
                  <a:cubicBezTo>
                    <a:pt x="1451" y="715"/>
                    <a:pt x="1451" y="715"/>
                    <a:pt x="1451" y="715"/>
                  </a:cubicBezTo>
                  <a:cubicBezTo>
                    <a:pt x="1410" y="905"/>
                    <a:pt x="1410" y="905"/>
                    <a:pt x="1410" y="905"/>
                  </a:cubicBezTo>
                  <a:cubicBezTo>
                    <a:pt x="1534" y="905"/>
                    <a:pt x="1534" y="905"/>
                    <a:pt x="1534" y="905"/>
                  </a:cubicBezTo>
                  <a:cubicBezTo>
                    <a:pt x="1574" y="715"/>
                    <a:pt x="1574" y="715"/>
                    <a:pt x="1574" y="715"/>
                  </a:cubicBezTo>
                  <a:cubicBezTo>
                    <a:pt x="1645" y="715"/>
                    <a:pt x="1645" y="715"/>
                    <a:pt x="1645" y="715"/>
                  </a:cubicBezTo>
                  <a:cubicBezTo>
                    <a:pt x="1643" y="774"/>
                    <a:pt x="1658" y="827"/>
                    <a:pt x="1697" y="863"/>
                  </a:cubicBezTo>
                  <a:cubicBezTo>
                    <a:pt x="1745" y="907"/>
                    <a:pt x="1818" y="916"/>
                    <a:pt x="1872" y="916"/>
                  </a:cubicBezTo>
                  <a:cubicBezTo>
                    <a:pt x="1947" y="916"/>
                    <a:pt x="2024" y="905"/>
                    <a:pt x="2102" y="888"/>
                  </a:cubicBezTo>
                  <a:cubicBezTo>
                    <a:pt x="2145" y="715"/>
                    <a:pt x="2145" y="715"/>
                    <a:pt x="2145" y="715"/>
                  </a:cubicBezTo>
                  <a:cubicBezTo>
                    <a:pt x="2285" y="715"/>
                    <a:pt x="2285" y="715"/>
                    <a:pt x="2285" y="715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  <a:moveTo>
                    <a:pt x="222" y="1195"/>
                  </a:moveTo>
                  <a:cubicBezTo>
                    <a:pt x="203" y="1286"/>
                    <a:pt x="203" y="1286"/>
                    <a:pt x="203" y="1286"/>
                  </a:cubicBezTo>
                  <a:cubicBezTo>
                    <a:pt x="200" y="1299"/>
                    <a:pt x="196" y="1320"/>
                    <a:pt x="220" y="1320"/>
                  </a:cubicBezTo>
                  <a:cubicBezTo>
                    <a:pt x="249" y="1320"/>
                    <a:pt x="253" y="1298"/>
                    <a:pt x="259" y="1272"/>
                  </a:cubicBezTo>
                  <a:cubicBezTo>
                    <a:pt x="275" y="1195"/>
                    <a:pt x="275" y="1195"/>
                    <a:pt x="275" y="1195"/>
                  </a:cubicBezTo>
                  <a:cubicBezTo>
                    <a:pt x="321" y="1195"/>
                    <a:pt x="321" y="1195"/>
                    <a:pt x="321" y="1195"/>
                  </a:cubicBezTo>
                  <a:cubicBezTo>
                    <a:pt x="300" y="1296"/>
                    <a:pt x="300" y="1296"/>
                    <a:pt x="300" y="1296"/>
                  </a:cubicBezTo>
                  <a:cubicBezTo>
                    <a:pt x="294" y="1329"/>
                    <a:pt x="293" y="1333"/>
                    <a:pt x="292" y="1337"/>
                  </a:cubicBezTo>
                  <a:cubicBezTo>
                    <a:pt x="292" y="1341"/>
                    <a:pt x="291" y="1344"/>
                    <a:pt x="291" y="1348"/>
                  </a:cubicBezTo>
                  <a:cubicBezTo>
                    <a:pt x="247" y="1348"/>
                    <a:pt x="247" y="1348"/>
                    <a:pt x="247" y="1348"/>
                  </a:cubicBezTo>
                  <a:cubicBezTo>
                    <a:pt x="250" y="1328"/>
                    <a:pt x="250" y="1328"/>
                    <a:pt x="250" y="1328"/>
                  </a:cubicBezTo>
                  <a:cubicBezTo>
                    <a:pt x="244" y="1334"/>
                    <a:pt x="229" y="1352"/>
                    <a:pt x="200" y="1352"/>
                  </a:cubicBezTo>
                  <a:cubicBezTo>
                    <a:pt x="179" y="1352"/>
                    <a:pt x="164" y="1343"/>
                    <a:pt x="158" y="1331"/>
                  </a:cubicBezTo>
                  <a:cubicBezTo>
                    <a:pt x="151" y="1319"/>
                    <a:pt x="155" y="1297"/>
                    <a:pt x="157" y="1290"/>
                  </a:cubicBezTo>
                  <a:cubicBezTo>
                    <a:pt x="177" y="1195"/>
                    <a:pt x="177" y="1195"/>
                    <a:pt x="177" y="1195"/>
                  </a:cubicBezTo>
                  <a:cubicBezTo>
                    <a:pt x="222" y="1195"/>
                    <a:pt x="222" y="1195"/>
                    <a:pt x="222" y="1195"/>
                  </a:cubicBezTo>
                  <a:cubicBezTo>
                    <a:pt x="222" y="1195"/>
                    <a:pt x="222" y="1195"/>
                    <a:pt x="222" y="1195"/>
                  </a:cubicBezTo>
                  <a:close/>
                  <a:moveTo>
                    <a:pt x="514" y="1225"/>
                  </a:moveTo>
                  <a:cubicBezTo>
                    <a:pt x="550" y="1225"/>
                    <a:pt x="550" y="1225"/>
                    <a:pt x="550" y="1225"/>
                  </a:cubicBezTo>
                  <a:cubicBezTo>
                    <a:pt x="556" y="1196"/>
                    <a:pt x="556" y="1196"/>
                    <a:pt x="556" y="1196"/>
                  </a:cubicBezTo>
                  <a:cubicBezTo>
                    <a:pt x="520" y="1196"/>
                    <a:pt x="520" y="1196"/>
                    <a:pt x="520" y="1196"/>
                  </a:cubicBezTo>
                  <a:cubicBezTo>
                    <a:pt x="530" y="1149"/>
                    <a:pt x="530" y="1149"/>
                    <a:pt x="530" y="1149"/>
                  </a:cubicBezTo>
                  <a:cubicBezTo>
                    <a:pt x="482" y="1166"/>
                    <a:pt x="482" y="1166"/>
                    <a:pt x="482" y="1166"/>
                  </a:cubicBezTo>
                  <a:cubicBezTo>
                    <a:pt x="475" y="1196"/>
                    <a:pt x="475" y="1196"/>
                    <a:pt x="475" y="1196"/>
                  </a:cubicBezTo>
                  <a:cubicBezTo>
                    <a:pt x="414" y="1196"/>
                    <a:pt x="414" y="1196"/>
                    <a:pt x="414" y="1196"/>
                  </a:cubicBezTo>
                  <a:cubicBezTo>
                    <a:pt x="424" y="1149"/>
                    <a:pt x="424" y="1149"/>
                    <a:pt x="424" y="1149"/>
                  </a:cubicBezTo>
                  <a:cubicBezTo>
                    <a:pt x="376" y="1166"/>
                    <a:pt x="376" y="1166"/>
                    <a:pt x="376" y="1166"/>
                  </a:cubicBezTo>
                  <a:cubicBezTo>
                    <a:pt x="369" y="1196"/>
                    <a:pt x="369" y="1196"/>
                    <a:pt x="369" y="1196"/>
                  </a:cubicBezTo>
                  <a:cubicBezTo>
                    <a:pt x="340" y="1196"/>
                    <a:pt x="340" y="1196"/>
                    <a:pt x="340" y="1196"/>
                  </a:cubicBezTo>
                  <a:cubicBezTo>
                    <a:pt x="333" y="1225"/>
                    <a:pt x="333" y="1225"/>
                    <a:pt x="333" y="1225"/>
                  </a:cubicBezTo>
                  <a:cubicBezTo>
                    <a:pt x="363" y="1225"/>
                    <a:pt x="363" y="1225"/>
                    <a:pt x="363" y="1225"/>
                  </a:cubicBezTo>
                  <a:cubicBezTo>
                    <a:pt x="345" y="1310"/>
                    <a:pt x="345" y="1310"/>
                    <a:pt x="345" y="1310"/>
                  </a:cubicBezTo>
                  <a:cubicBezTo>
                    <a:pt x="342" y="1322"/>
                    <a:pt x="336" y="1351"/>
                    <a:pt x="382" y="1351"/>
                  </a:cubicBezTo>
                  <a:cubicBezTo>
                    <a:pt x="389" y="1351"/>
                    <a:pt x="402" y="1350"/>
                    <a:pt x="417" y="1346"/>
                  </a:cubicBezTo>
                  <a:cubicBezTo>
                    <a:pt x="424" y="1317"/>
                    <a:pt x="424" y="1317"/>
                    <a:pt x="424" y="1317"/>
                  </a:cubicBezTo>
                  <a:cubicBezTo>
                    <a:pt x="418" y="1317"/>
                    <a:pt x="415" y="1317"/>
                    <a:pt x="408" y="1317"/>
                  </a:cubicBezTo>
                  <a:cubicBezTo>
                    <a:pt x="388" y="1317"/>
                    <a:pt x="391" y="1309"/>
                    <a:pt x="393" y="1295"/>
                  </a:cubicBezTo>
                  <a:cubicBezTo>
                    <a:pt x="408" y="1225"/>
                    <a:pt x="408" y="1225"/>
                    <a:pt x="408" y="1225"/>
                  </a:cubicBezTo>
                  <a:cubicBezTo>
                    <a:pt x="469" y="1225"/>
                    <a:pt x="469" y="1225"/>
                    <a:pt x="469" y="1225"/>
                  </a:cubicBezTo>
                  <a:cubicBezTo>
                    <a:pt x="451" y="1310"/>
                    <a:pt x="451" y="1310"/>
                    <a:pt x="451" y="1310"/>
                  </a:cubicBezTo>
                  <a:cubicBezTo>
                    <a:pt x="448" y="1322"/>
                    <a:pt x="442" y="1351"/>
                    <a:pt x="488" y="1351"/>
                  </a:cubicBezTo>
                  <a:cubicBezTo>
                    <a:pt x="495" y="1351"/>
                    <a:pt x="508" y="1350"/>
                    <a:pt x="523" y="1346"/>
                  </a:cubicBezTo>
                  <a:cubicBezTo>
                    <a:pt x="530" y="1317"/>
                    <a:pt x="530" y="1317"/>
                    <a:pt x="530" y="1317"/>
                  </a:cubicBezTo>
                  <a:cubicBezTo>
                    <a:pt x="524" y="1317"/>
                    <a:pt x="521" y="1317"/>
                    <a:pt x="514" y="1317"/>
                  </a:cubicBezTo>
                  <a:cubicBezTo>
                    <a:pt x="494" y="1317"/>
                    <a:pt x="496" y="1309"/>
                    <a:pt x="499" y="1295"/>
                  </a:cubicBezTo>
                  <a:cubicBezTo>
                    <a:pt x="514" y="1225"/>
                    <a:pt x="514" y="1225"/>
                    <a:pt x="514" y="1225"/>
                  </a:cubicBezTo>
                  <a:cubicBezTo>
                    <a:pt x="514" y="1225"/>
                    <a:pt x="514" y="1225"/>
                    <a:pt x="514" y="1225"/>
                  </a:cubicBezTo>
                  <a:close/>
                  <a:moveTo>
                    <a:pt x="579" y="1194"/>
                  </a:moveTo>
                  <a:cubicBezTo>
                    <a:pt x="624" y="1194"/>
                    <a:pt x="624" y="1194"/>
                    <a:pt x="624" y="1194"/>
                  </a:cubicBezTo>
                  <a:cubicBezTo>
                    <a:pt x="591" y="1348"/>
                    <a:pt x="591" y="1348"/>
                    <a:pt x="591" y="1348"/>
                  </a:cubicBezTo>
                  <a:cubicBezTo>
                    <a:pt x="546" y="1348"/>
                    <a:pt x="546" y="1348"/>
                    <a:pt x="546" y="1348"/>
                  </a:cubicBezTo>
                  <a:cubicBezTo>
                    <a:pt x="579" y="1194"/>
                    <a:pt x="579" y="1194"/>
                    <a:pt x="579" y="1194"/>
                  </a:cubicBezTo>
                  <a:cubicBezTo>
                    <a:pt x="579" y="1194"/>
                    <a:pt x="579" y="1194"/>
                    <a:pt x="579" y="1194"/>
                  </a:cubicBezTo>
                  <a:close/>
                  <a:moveTo>
                    <a:pt x="591" y="1129"/>
                  </a:moveTo>
                  <a:cubicBezTo>
                    <a:pt x="640" y="1129"/>
                    <a:pt x="640" y="1129"/>
                    <a:pt x="640" y="1129"/>
                  </a:cubicBezTo>
                  <a:cubicBezTo>
                    <a:pt x="631" y="1168"/>
                    <a:pt x="631" y="1168"/>
                    <a:pt x="631" y="1168"/>
                  </a:cubicBezTo>
                  <a:cubicBezTo>
                    <a:pt x="583" y="1168"/>
                    <a:pt x="583" y="1168"/>
                    <a:pt x="583" y="1168"/>
                  </a:cubicBezTo>
                  <a:cubicBezTo>
                    <a:pt x="591" y="1129"/>
                    <a:pt x="591" y="1129"/>
                    <a:pt x="591" y="1129"/>
                  </a:cubicBezTo>
                  <a:cubicBezTo>
                    <a:pt x="591" y="1129"/>
                    <a:pt x="591" y="1129"/>
                    <a:pt x="591" y="1129"/>
                  </a:cubicBezTo>
                  <a:close/>
                  <a:moveTo>
                    <a:pt x="653" y="1222"/>
                  </a:moveTo>
                  <a:cubicBezTo>
                    <a:pt x="654" y="1221"/>
                    <a:pt x="657" y="1205"/>
                    <a:pt x="659" y="1194"/>
                  </a:cubicBezTo>
                  <a:cubicBezTo>
                    <a:pt x="702" y="1194"/>
                    <a:pt x="702" y="1194"/>
                    <a:pt x="702" y="1194"/>
                  </a:cubicBezTo>
                  <a:cubicBezTo>
                    <a:pt x="698" y="1217"/>
                    <a:pt x="698" y="1217"/>
                    <a:pt x="698" y="1217"/>
                  </a:cubicBezTo>
                  <a:cubicBezTo>
                    <a:pt x="704" y="1210"/>
                    <a:pt x="720" y="1191"/>
                    <a:pt x="753" y="1191"/>
                  </a:cubicBezTo>
                  <a:cubicBezTo>
                    <a:pt x="784" y="1191"/>
                    <a:pt x="793" y="1209"/>
                    <a:pt x="794" y="1220"/>
                  </a:cubicBezTo>
                  <a:cubicBezTo>
                    <a:pt x="796" y="1229"/>
                    <a:pt x="795" y="1236"/>
                    <a:pt x="789" y="1265"/>
                  </a:cubicBezTo>
                  <a:cubicBezTo>
                    <a:pt x="771" y="1348"/>
                    <a:pt x="771" y="1348"/>
                    <a:pt x="771" y="1348"/>
                  </a:cubicBezTo>
                  <a:cubicBezTo>
                    <a:pt x="725" y="1348"/>
                    <a:pt x="725" y="1348"/>
                    <a:pt x="725" y="1348"/>
                  </a:cubicBezTo>
                  <a:cubicBezTo>
                    <a:pt x="746" y="1253"/>
                    <a:pt x="746" y="1253"/>
                    <a:pt x="746" y="1253"/>
                  </a:cubicBezTo>
                  <a:cubicBezTo>
                    <a:pt x="747" y="1246"/>
                    <a:pt x="748" y="1241"/>
                    <a:pt x="746" y="1236"/>
                  </a:cubicBezTo>
                  <a:cubicBezTo>
                    <a:pt x="745" y="1230"/>
                    <a:pt x="739" y="1223"/>
                    <a:pt x="728" y="1223"/>
                  </a:cubicBezTo>
                  <a:cubicBezTo>
                    <a:pt x="718" y="1223"/>
                    <a:pt x="708" y="1227"/>
                    <a:pt x="702" y="1235"/>
                  </a:cubicBezTo>
                  <a:cubicBezTo>
                    <a:pt x="698" y="1239"/>
                    <a:pt x="694" y="1246"/>
                    <a:pt x="691" y="1258"/>
                  </a:cubicBezTo>
                  <a:cubicBezTo>
                    <a:pt x="672" y="1348"/>
                    <a:pt x="672" y="1348"/>
                    <a:pt x="672" y="1348"/>
                  </a:cubicBezTo>
                  <a:cubicBezTo>
                    <a:pt x="627" y="1348"/>
                    <a:pt x="627" y="1348"/>
                    <a:pt x="627" y="1348"/>
                  </a:cubicBezTo>
                  <a:cubicBezTo>
                    <a:pt x="653" y="1222"/>
                    <a:pt x="653" y="1222"/>
                    <a:pt x="653" y="1222"/>
                  </a:cubicBezTo>
                  <a:cubicBezTo>
                    <a:pt x="653" y="1222"/>
                    <a:pt x="653" y="1222"/>
                    <a:pt x="653" y="1222"/>
                  </a:cubicBezTo>
                  <a:close/>
                  <a:moveTo>
                    <a:pt x="985" y="1196"/>
                  </a:moveTo>
                  <a:cubicBezTo>
                    <a:pt x="981" y="1207"/>
                    <a:pt x="978" y="1218"/>
                    <a:pt x="975" y="1233"/>
                  </a:cubicBezTo>
                  <a:cubicBezTo>
                    <a:pt x="951" y="1346"/>
                    <a:pt x="951" y="1346"/>
                    <a:pt x="951" y="1346"/>
                  </a:cubicBezTo>
                  <a:cubicBezTo>
                    <a:pt x="939" y="1403"/>
                    <a:pt x="891" y="1409"/>
                    <a:pt x="861" y="1409"/>
                  </a:cubicBezTo>
                  <a:cubicBezTo>
                    <a:pt x="839" y="1409"/>
                    <a:pt x="797" y="1406"/>
                    <a:pt x="804" y="1359"/>
                  </a:cubicBezTo>
                  <a:cubicBezTo>
                    <a:pt x="847" y="1359"/>
                    <a:pt x="847" y="1359"/>
                    <a:pt x="847" y="1359"/>
                  </a:cubicBezTo>
                  <a:cubicBezTo>
                    <a:pt x="847" y="1362"/>
                    <a:pt x="847" y="1367"/>
                    <a:pt x="850" y="1372"/>
                  </a:cubicBezTo>
                  <a:cubicBezTo>
                    <a:pt x="852" y="1376"/>
                    <a:pt x="858" y="1380"/>
                    <a:pt x="869" y="1380"/>
                  </a:cubicBezTo>
                  <a:cubicBezTo>
                    <a:pt x="883" y="1380"/>
                    <a:pt x="896" y="1374"/>
                    <a:pt x="902" y="1360"/>
                  </a:cubicBezTo>
                  <a:cubicBezTo>
                    <a:pt x="905" y="1353"/>
                    <a:pt x="906" y="1347"/>
                    <a:pt x="912" y="1324"/>
                  </a:cubicBezTo>
                  <a:cubicBezTo>
                    <a:pt x="893" y="1343"/>
                    <a:pt x="877" y="1345"/>
                    <a:pt x="866" y="1345"/>
                  </a:cubicBezTo>
                  <a:cubicBezTo>
                    <a:pt x="822" y="1345"/>
                    <a:pt x="809" y="1307"/>
                    <a:pt x="817" y="1270"/>
                  </a:cubicBezTo>
                  <a:cubicBezTo>
                    <a:pt x="825" y="1231"/>
                    <a:pt x="855" y="1194"/>
                    <a:pt x="899" y="1194"/>
                  </a:cubicBezTo>
                  <a:cubicBezTo>
                    <a:pt x="927" y="1194"/>
                    <a:pt x="934" y="1209"/>
                    <a:pt x="937" y="1216"/>
                  </a:cubicBezTo>
                  <a:cubicBezTo>
                    <a:pt x="943" y="1196"/>
                    <a:pt x="943" y="1196"/>
                    <a:pt x="943" y="1196"/>
                  </a:cubicBezTo>
                  <a:cubicBezTo>
                    <a:pt x="985" y="1196"/>
                    <a:pt x="985" y="1196"/>
                    <a:pt x="985" y="1196"/>
                  </a:cubicBezTo>
                  <a:cubicBezTo>
                    <a:pt x="985" y="1196"/>
                    <a:pt x="985" y="1196"/>
                    <a:pt x="985" y="1196"/>
                  </a:cubicBezTo>
                  <a:close/>
                  <a:moveTo>
                    <a:pt x="883" y="1315"/>
                  </a:moveTo>
                  <a:cubicBezTo>
                    <a:pt x="914" y="1315"/>
                    <a:pt x="922" y="1277"/>
                    <a:pt x="924" y="1271"/>
                  </a:cubicBezTo>
                  <a:cubicBezTo>
                    <a:pt x="927" y="1253"/>
                    <a:pt x="930" y="1224"/>
                    <a:pt x="903" y="1224"/>
                  </a:cubicBezTo>
                  <a:cubicBezTo>
                    <a:pt x="886" y="1224"/>
                    <a:pt x="869" y="1237"/>
                    <a:pt x="862" y="1270"/>
                  </a:cubicBezTo>
                  <a:cubicBezTo>
                    <a:pt x="861" y="1277"/>
                    <a:pt x="853" y="1315"/>
                    <a:pt x="883" y="1315"/>
                  </a:cubicBezTo>
                  <a:moveTo>
                    <a:pt x="1164" y="1346"/>
                  </a:moveTo>
                  <a:cubicBezTo>
                    <a:pt x="1149" y="1350"/>
                    <a:pt x="1136" y="1351"/>
                    <a:pt x="1129" y="1351"/>
                  </a:cubicBezTo>
                  <a:cubicBezTo>
                    <a:pt x="1083" y="1351"/>
                    <a:pt x="1089" y="1322"/>
                    <a:pt x="1092" y="1310"/>
                  </a:cubicBezTo>
                  <a:cubicBezTo>
                    <a:pt x="1110" y="1225"/>
                    <a:pt x="1110" y="1225"/>
                    <a:pt x="1110" y="1225"/>
                  </a:cubicBezTo>
                  <a:cubicBezTo>
                    <a:pt x="1080" y="1225"/>
                    <a:pt x="1080" y="1225"/>
                    <a:pt x="1080" y="1225"/>
                  </a:cubicBezTo>
                  <a:cubicBezTo>
                    <a:pt x="1087" y="1196"/>
                    <a:pt x="1087" y="1196"/>
                    <a:pt x="1087" y="1196"/>
                  </a:cubicBezTo>
                  <a:cubicBezTo>
                    <a:pt x="1116" y="1196"/>
                    <a:pt x="1116" y="1196"/>
                    <a:pt x="1116" y="1196"/>
                  </a:cubicBezTo>
                  <a:cubicBezTo>
                    <a:pt x="1123" y="1166"/>
                    <a:pt x="1123" y="1166"/>
                    <a:pt x="1123" y="1166"/>
                  </a:cubicBezTo>
                  <a:cubicBezTo>
                    <a:pt x="1171" y="1149"/>
                    <a:pt x="1171" y="1149"/>
                    <a:pt x="1171" y="1149"/>
                  </a:cubicBezTo>
                  <a:cubicBezTo>
                    <a:pt x="1161" y="1196"/>
                    <a:pt x="1161" y="1196"/>
                    <a:pt x="1161" y="1196"/>
                  </a:cubicBezTo>
                  <a:cubicBezTo>
                    <a:pt x="1198" y="1196"/>
                    <a:pt x="1198" y="1196"/>
                    <a:pt x="1198" y="1196"/>
                  </a:cubicBezTo>
                  <a:cubicBezTo>
                    <a:pt x="1191" y="1225"/>
                    <a:pt x="1191" y="1225"/>
                    <a:pt x="1191" y="1225"/>
                  </a:cubicBezTo>
                  <a:cubicBezTo>
                    <a:pt x="1155" y="1225"/>
                    <a:pt x="1155" y="1225"/>
                    <a:pt x="1155" y="1225"/>
                  </a:cubicBezTo>
                  <a:cubicBezTo>
                    <a:pt x="1140" y="1295"/>
                    <a:pt x="1140" y="1295"/>
                    <a:pt x="1140" y="1295"/>
                  </a:cubicBezTo>
                  <a:cubicBezTo>
                    <a:pt x="1137" y="1309"/>
                    <a:pt x="1135" y="1317"/>
                    <a:pt x="1155" y="1317"/>
                  </a:cubicBezTo>
                  <a:cubicBezTo>
                    <a:pt x="1162" y="1317"/>
                    <a:pt x="1165" y="1317"/>
                    <a:pt x="1171" y="1317"/>
                  </a:cubicBezTo>
                  <a:cubicBezTo>
                    <a:pt x="1164" y="1346"/>
                    <a:pt x="1164" y="1346"/>
                    <a:pt x="1164" y="1346"/>
                  </a:cubicBezTo>
                  <a:cubicBezTo>
                    <a:pt x="1164" y="1346"/>
                    <a:pt x="1164" y="1346"/>
                    <a:pt x="1164" y="1346"/>
                  </a:cubicBezTo>
                  <a:close/>
                  <a:moveTo>
                    <a:pt x="1235" y="1129"/>
                  </a:moveTo>
                  <a:cubicBezTo>
                    <a:pt x="1280" y="1129"/>
                    <a:pt x="1280" y="1129"/>
                    <a:pt x="1280" y="1129"/>
                  </a:cubicBezTo>
                  <a:cubicBezTo>
                    <a:pt x="1261" y="1216"/>
                    <a:pt x="1261" y="1216"/>
                    <a:pt x="1261" y="1216"/>
                  </a:cubicBezTo>
                  <a:cubicBezTo>
                    <a:pt x="1268" y="1208"/>
                    <a:pt x="1283" y="1193"/>
                    <a:pt x="1311" y="1193"/>
                  </a:cubicBezTo>
                  <a:cubicBezTo>
                    <a:pt x="1334" y="1193"/>
                    <a:pt x="1346" y="1204"/>
                    <a:pt x="1351" y="1214"/>
                  </a:cubicBezTo>
                  <a:cubicBezTo>
                    <a:pt x="1355" y="1221"/>
                    <a:pt x="1356" y="1235"/>
                    <a:pt x="1352" y="1255"/>
                  </a:cubicBezTo>
                  <a:cubicBezTo>
                    <a:pt x="1332" y="1348"/>
                    <a:pt x="1332" y="1348"/>
                    <a:pt x="1332" y="1348"/>
                  </a:cubicBezTo>
                  <a:cubicBezTo>
                    <a:pt x="1288" y="1348"/>
                    <a:pt x="1288" y="1348"/>
                    <a:pt x="1288" y="1348"/>
                  </a:cubicBezTo>
                  <a:cubicBezTo>
                    <a:pt x="1307" y="1256"/>
                    <a:pt x="1307" y="1256"/>
                    <a:pt x="1307" y="1256"/>
                  </a:cubicBezTo>
                  <a:cubicBezTo>
                    <a:pt x="1309" y="1248"/>
                    <a:pt x="1314" y="1223"/>
                    <a:pt x="1289" y="1223"/>
                  </a:cubicBezTo>
                  <a:cubicBezTo>
                    <a:pt x="1276" y="1223"/>
                    <a:pt x="1259" y="1230"/>
                    <a:pt x="1253" y="1254"/>
                  </a:cubicBezTo>
                  <a:cubicBezTo>
                    <a:pt x="1234" y="1348"/>
                    <a:pt x="1234" y="1348"/>
                    <a:pt x="1234" y="1348"/>
                  </a:cubicBezTo>
                  <a:cubicBezTo>
                    <a:pt x="1189" y="1348"/>
                    <a:pt x="1189" y="1348"/>
                    <a:pt x="1189" y="1348"/>
                  </a:cubicBezTo>
                  <a:cubicBezTo>
                    <a:pt x="1235" y="1129"/>
                    <a:pt x="1235" y="1129"/>
                    <a:pt x="1235" y="1129"/>
                  </a:cubicBezTo>
                  <a:cubicBezTo>
                    <a:pt x="1235" y="1129"/>
                    <a:pt x="1235" y="1129"/>
                    <a:pt x="1235" y="1129"/>
                  </a:cubicBezTo>
                  <a:close/>
                  <a:moveTo>
                    <a:pt x="1387" y="1232"/>
                  </a:moveTo>
                  <a:cubicBezTo>
                    <a:pt x="1389" y="1225"/>
                    <a:pt x="1392" y="1203"/>
                    <a:pt x="1393" y="1194"/>
                  </a:cubicBezTo>
                  <a:cubicBezTo>
                    <a:pt x="1435" y="1194"/>
                    <a:pt x="1435" y="1194"/>
                    <a:pt x="1435" y="1194"/>
                  </a:cubicBezTo>
                  <a:cubicBezTo>
                    <a:pt x="1430" y="1223"/>
                    <a:pt x="1430" y="1223"/>
                    <a:pt x="1430" y="1223"/>
                  </a:cubicBezTo>
                  <a:cubicBezTo>
                    <a:pt x="1438" y="1211"/>
                    <a:pt x="1452" y="1192"/>
                    <a:pt x="1489" y="1194"/>
                  </a:cubicBezTo>
                  <a:cubicBezTo>
                    <a:pt x="1480" y="1234"/>
                    <a:pt x="1480" y="1234"/>
                    <a:pt x="1480" y="1234"/>
                  </a:cubicBezTo>
                  <a:cubicBezTo>
                    <a:pt x="1435" y="1230"/>
                    <a:pt x="1428" y="1253"/>
                    <a:pt x="1424" y="1273"/>
                  </a:cubicBezTo>
                  <a:cubicBezTo>
                    <a:pt x="1408" y="1348"/>
                    <a:pt x="1408" y="1348"/>
                    <a:pt x="1408" y="1348"/>
                  </a:cubicBezTo>
                  <a:cubicBezTo>
                    <a:pt x="1363" y="1348"/>
                    <a:pt x="1363" y="1348"/>
                    <a:pt x="1363" y="1348"/>
                  </a:cubicBezTo>
                  <a:cubicBezTo>
                    <a:pt x="1387" y="1232"/>
                    <a:pt x="1387" y="1232"/>
                    <a:pt x="1387" y="1232"/>
                  </a:cubicBezTo>
                  <a:cubicBezTo>
                    <a:pt x="1387" y="1232"/>
                    <a:pt x="1387" y="1232"/>
                    <a:pt x="1387" y="1232"/>
                  </a:cubicBezTo>
                  <a:close/>
                  <a:moveTo>
                    <a:pt x="1582" y="1191"/>
                  </a:moveTo>
                  <a:cubicBezTo>
                    <a:pt x="1637" y="1191"/>
                    <a:pt x="1654" y="1229"/>
                    <a:pt x="1644" y="1271"/>
                  </a:cubicBezTo>
                  <a:cubicBezTo>
                    <a:pt x="1635" y="1315"/>
                    <a:pt x="1602" y="1353"/>
                    <a:pt x="1546" y="1353"/>
                  </a:cubicBezTo>
                  <a:cubicBezTo>
                    <a:pt x="1503" y="1353"/>
                    <a:pt x="1474" y="1326"/>
                    <a:pt x="1485" y="1273"/>
                  </a:cubicBezTo>
                  <a:cubicBezTo>
                    <a:pt x="1493" y="1236"/>
                    <a:pt x="1521" y="1191"/>
                    <a:pt x="1582" y="1191"/>
                  </a:cubicBezTo>
                  <a:moveTo>
                    <a:pt x="1555" y="1322"/>
                  </a:moveTo>
                  <a:cubicBezTo>
                    <a:pt x="1574" y="1322"/>
                    <a:pt x="1590" y="1310"/>
                    <a:pt x="1599" y="1270"/>
                  </a:cubicBezTo>
                  <a:cubicBezTo>
                    <a:pt x="1603" y="1250"/>
                    <a:pt x="1605" y="1221"/>
                    <a:pt x="1575" y="1221"/>
                  </a:cubicBezTo>
                  <a:cubicBezTo>
                    <a:pt x="1543" y="1221"/>
                    <a:pt x="1534" y="1259"/>
                    <a:pt x="1531" y="1273"/>
                  </a:cubicBezTo>
                  <a:cubicBezTo>
                    <a:pt x="1524" y="1307"/>
                    <a:pt x="1532" y="1322"/>
                    <a:pt x="1555" y="1322"/>
                  </a:cubicBezTo>
                  <a:moveTo>
                    <a:pt x="1734" y="1195"/>
                  </a:moveTo>
                  <a:cubicBezTo>
                    <a:pt x="1714" y="1286"/>
                    <a:pt x="1714" y="1286"/>
                    <a:pt x="1714" y="1286"/>
                  </a:cubicBezTo>
                  <a:cubicBezTo>
                    <a:pt x="1711" y="1299"/>
                    <a:pt x="1707" y="1320"/>
                    <a:pt x="1731" y="1320"/>
                  </a:cubicBezTo>
                  <a:cubicBezTo>
                    <a:pt x="1760" y="1320"/>
                    <a:pt x="1765" y="1298"/>
                    <a:pt x="1770" y="1272"/>
                  </a:cubicBezTo>
                  <a:cubicBezTo>
                    <a:pt x="1786" y="1195"/>
                    <a:pt x="1786" y="1195"/>
                    <a:pt x="1786" y="1195"/>
                  </a:cubicBezTo>
                  <a:cubicBezTo>
                    <a:pt x="1833" y="1195"/>
                    <a:pt x="1833" y="1195"/>
                    <a:pt x="1833" y="1195"/>
                  </a:cubicBezTo>
                  <a:cubicBezTo>
                    <a:pt x="1811" y="1296"/>
                    <a:pt x="1811" y="1296"/>
                    <a:pt x="1811" y="1296"/>
                  </a:cubicBezTo>
                  <a:cubicBezTo>
                    <a:pt x="1805" y="1329"/>
                    <a:pt x="1804" y="1333"/>
                    <a:pt x="1804" y="1337"/>
                  </a:cubicBezTo>
                  <a:cubicBezTo>
                    <a:pt x="1803" y="1341"/>
                    <a:pt x="1802" y="1344"/>
                    <a:pt x="1802" y="1348"/>
                  </a:cubicBezTo>
                  <a:cubicBezTo>
                    <a:pt x="1758" y="1348"/>
                    <a:pt x="1758" y="1348"/>
                    <a:pt x="1758" y="1348"/>
                  </a:cubicBezTo>
                  <a:cubicBezTo>
                    <a:pt x="1761" y="1328"/>
                    <a:pt x="1761" y="1328"/>
                    <a:pt x="1761" y="1328"/>
                  </a:cubicBezTo>
                  <a:cubicBezTo>
                    <a:pt x="1756" y="1334"/>
                    <a:pt x="1740" y="1352"/>
                    <a:pt x="1711" y="1352"/>
                  </a:cubicBezTo>
                  <a:cubicBezTo>
                    <a:pt x="1690" y="1352"/>
                    <a:pt x="1675" y="1343"/>
                    <a:pt x="1669" y="1331"/>
                  </a:cubicBezTo>
                  <a:cubicBezTo>
                    <a:pt x="1662" y="1319"/>
                    <a:pt x="1666" y="1297"/>
                    <a:pt x="1668" y="1290"/>
                  </a:cubicBezTo>
                  <a:cubicBezTo>
                    <a:pt x="1688" y="1195"/>
                    <a:pt x="1688" y="1195"/>
                    <a:pt x="1688" y="1195"/>
                  </a:cubicBezTo>
                  <a:cubicBezTo>
                    <a:pt x="1734" y="1195"/>
                    <a:pt x="1734" y="1195"/>
                    <a:pt x="1734" y="1195"/>
                  </a:cubicBezTo>
                  <a:cubicBezTo>
                    <a:pt x="1734" y="1195"/>
                    <a:pt x="1734" y="1195"/>
                    <a:pt x="1734" y="1195"/>
                  </a:cubicBezTo>
                  <a:close/>
                  <a:moveTo>
                    <a:pt x="2010" y="1196"/>
                  </a:moveTo>
                  <a:cubicBezTo>
                    <a:pt x="2006" y="1207"/>
                    <a:pt x="2003" y="1218"/>
                    <a:pt x="2000" y="1233"/>
                  </a:cubicBezTo>
                  <a:cubicBezTo>
                    <a:pt x="1976" y="1346"/>
                    <a:pt x="1976" y="1346"/>
                    <a:pt x="1976" y="1346"/>
                  </a:cubicBezTo>
                  <a:cubicBezTo>
                    <a:pt x="1964" y="1403"/>
                    <a:pt x="1915" y="1409"/>
                    <a:pt x="1886" y="1409"/>
                  </a:cubicBezTo>
                  <a:cubicBezTo>
                    <a:pt x="1864" y="1409"/>
                    <a:pt x="1822" y="1406"/>
                    <a:pt x="1829" y="1359"/>
                  </a:cubicBezTo>
                  <a:cubicBezTo>
                    <a:pt x="1872" y="1359"/>
                    <a:pt x="1872" y="1359"/>
                    <a:pt x="1872" y="1359"/>
                  </a:cubicBezTo>
                  <a:cubicBezTo>
                    <a:pt x="1872" y="1362"/>
                    <a:pt x="1871" y="1367"/>
                    <a:pt x="1874" y="1372"/>
                  </a:cubicBezTo>
                  <a:cubicBezTo>
                    <a:pt x="1877" y="1376"/>
                    <a:pt x="1883" y="1380"/>
                    <a:pt x="1894" y="1380"/>
                  </a:cubicBezTo>
                  <a:cubicBezTo>
                    <a:pt x="1908" y="1380"/>
                    <a:pt x="1921" y="1374"/>
                    <a:pt x="1926" y="1360"/>
                  </a:cubicBezTo>
                  <a:cubicBezTo>
                    <a:pt x="1930" y="1353"/>
                    <a:pt x="1931" y="1347"/>
                    <a:pt x="1937" y="1324"/>
                  </a:cubicBezTo>
                  <a:cubicBezTo>
                    <a:pt x="1918" y="1343"/>
                    <a:pt x="1901" y="1345"/>
                    <a:pt x="1891" y="1345"/>
                  </a:cubicBezTo>
                  <a:cubicBezTo>
                    <a:pt x="1847" y="1345"/>
                    <a:pt x="1834" y="1307"/>
                    <a:pt x="1842" y="1270"/>
                  </a:cubicBezTo>
                  <a:cubicBezTo>
                    <a:pt x="1850" y="1231"/>
                    <a:pt x="1880" y="1194"/>
                    <a:pt x="1924" y="1194"/>
                  </a:cubicBezTo>
                  <a:cubicBezTo>
                    <a:pt x="1952" y="1194"/>
                    <a:pt x="1959" y="1209"/>
                    <a:pt x="1962" y="1216"/>
                  </a:cubicBezTo>
                  <a:cubicBezTo>
                    <a:pt x="1968" y="1196"/>
                    <a:pt x="1968" y="1196"/>
                    <a:pt x="1968" y="1196"/>
                  </a:cubicBezTo>
                  <a:cubicBezTo>
                    <a:pt x="2010" y="1196"/>
                    <a:pt x="2010" y="1196"/>
                    <a:pt x="2010" y="1196"/>
                  </a:cubicBezTo>
                  <a:cubicBezTo>
                    <a:pt x="2010" y="1196"/>
                    <a:pt x="2010" y="1196"/>
                    <a:pt x="2010" y="1196"/>
                  </a:cubicBezTo>
                  <a:close/>
                  <a:moveTo>
                    <a:pt x="1908" y="1315"/>
                  </a:moveTo>
                  <a:cubicBezTo>
                    <a:pt x="1939" y="1315"/>
                    <a:pt x="1947" y="1277"/>
                    <a:pt x="1948" y="1271"/>
                  </a:cubicBezTo>
                  <a:cubicBezTo>
                    <a:pt x="1952" y="1253"/>
                    <a:pt x="1955" y="1224"/>
                    <a:pt x="1928" y="1224"/>
                  </a:cubicBezTo>
                  <a:cubicBezTo>
                    <a:pt x="1911" y="1224"/>
                    <a:pt x="1894" y="1237"/>
                    <a:pt x="1887" y="1270"/>
                  </a:cubicBezTo>
                  <a:cubicBezTo>
                    <a:pt x="1885" y="1277"/>
                    <a:pt x="1878" y="1315"/>
                    <a:pt x="1908" y="1315"/>
                  </a:cubicBezTo>
                  <a:moveTo>
                    <a:pt x="2058" y="1129"/>
                  </a:moveTo>
                  <a:cubicBezTo>
                    <a:pt x="2102" y="1129"/>
                    <a:pt x="2102" y="1129"/>
                    <a:pt x="2102" y="1129"/>
                  </a:cubicBezTo>
                  <a:cubicBezTo>
                    <a:pt x="2084" y="1216"/>
                    <a:pt x="2084" y="1216"/>
                    <a:pt x="2084" y="1216"/>
                  </a:cubicBezTo>
                  <a:cubicBezTo>
                    <a:pt x="2091" y="1208"/>
                    <a:pt x="2105" y="1193"/>
                    <a:pt x="2133" y="1193"/>
                  </a:cubicBezTo>
                  <a:cubicBezTo>
                    <a:pt x="2156" y="1193"/>
                    <a:pt x="2168" y="1204"/>
                    <a:pt x="2174" y="1214"/>
                  </a:cubicBezTo>
                  <a:cubicBezTo>
                    <a:pt x="2177" y="1221"/>
                    <a:pt x="2179" y="1235"/>
                    <a:pt x="2175" y="1255"/>
                  </a:cubicBezTo>
                  <a:cubicBezTo>
                    <a:pt x="2155" y="1348"/>
                    <a:pt x="2155" y="1348"/>
                    <a:pt x="2155" y="1348"/>
                  </a:cubicBezTo>
                  <a:cubicBezTo>
                    <a:pt x="2110" y="1348"/>
                    <a:pt x="2110" y="1348"/>
                    <a:pt x="2110" y="1348"/>
                  </a:cubicBezTo>
                  <a:cubicBezTo>
                    <a:pt x="2130" y="1256"/>
                    <a:pt x="2130" y="1256"/>
                    <a:pt x="2130" y="1256"/>
                  </a:cubicBezTo>
                  <a:cubicBezTo>
                    <a:pt x="2131" y="1248"/>
                    <a:pt x="2137" y="1223"/>
                    <a:pt x="2112" y="1223"/>
                  </a:cubicBezTo>
                  <a:cubicBezTo>
                    <a:pt x="2099" y="1223"/>
                    <a:pt x="2081" y="1230"/>
                    <a:pt x="2076" y="1254"/>
                  </a:cubicBezTo>
                  <a:cubicBezTo>
                    <a:pt x="2057" y="1348"/>
                    <a:pt x="2057" y="1348"/>
                    <a:pt x="2057" y="1348"/>
                  </a:cubicBezTo>
                  <a:cubicBezTo>
                    <a:pt x="2012" y="1348"/>
                    <a:pt x="2012" y="1348"/>
                    <a:pt x="2012" y="1348"/>
                  </a:cubicBezTo>
                  <a:cubicBezTo>
                    <a:pt x="2058" y="1129"/>
                    <a:pt x="2058" y="1129"/>
                    <a:pt x="2058" y="1129"/>
                  </a:cubicBezTo>
                  <a:cubicBezTo>
                    <a:pt x="2058" y="1129"/>
                    <a:pt x="2058" y="1129"/>
                    <a:pt x="2058" y="1129"/>
                  </a:cubicBezTo>
                  <a:close/>
                  <a:moveTo>
                    <a:pt x="100" y="1249"/>
                  </a:moveTo>
                  <a:cubicBezTo>
                    <a:pt x="101" y="1244"/>
                    <a:pt x="104" y="1221"/>
                    <a:pt x="87" y="1221"/>
                  </a:cubicBezTo>
                  <a:cubicBezTo>
                    <a:pt x="66" y="1221"/>
                    <a:pt x="56" y="1253"/>
                    <a:pt x="53" y="1270"/>
                  </a:cubicBezTo>
                  <a:cubicBezTo>
                    <a:pt x="51" y="1278"/>
                    <a:pt x="46" y="1306"/>
                    <a:pt x="54" y="1317"/>
                  </a:cubicBezTo>
                  <a:cubicBezTo>
                    <a:pt x="57" y="1321"/>
                    <a:pt x="61" y="1322"/>
                    <a:pt x="65" y="1322"/>
                  </a:cubicBezTo>
                  <a:cubicBezTo>
                    <a:pt x="70" y="1322"/>
                    <a:pt x="84" y="1320"/>
                    <a:pt x="92" y="1292"/>
                  </a:cubicBezTo>
                  <a:cubicBezTo>
                    <a:pt x="136" y="1292"/>
                    <a:pt x="136" y="1292"/>
                    <a:pt x="136" y="1292"/>
                  </a:cubicBezTo>
                  <a:cubicBezTo>
                    <a:pt x="133" y="1304"/>
                    <a:pt x="128" y="1323"/>
                    <a:pt x="107" y="1337"/>
                  </a:cubicBezTo>
                  <a:cubicBezTo>
                    <a:pt x="94" y="1347"/>
                    <a:pt x="79" y="1352"/>
                    <a:pt x="60" y="1352"/>
                  </a:cubicBezTo>
                  <a:cubicBezTo>
                    <a:pt x="40" y="1352"/>
                    <a:pt x="23" y="1347"/>
                    <a:pt x="12" y="1331"/>
                  </a:cubicBezTo>
                  <a:cubicBezTo>
                    <a:pt x="2" y="1316"/>
                    <a:pt x="0" y="1296"/>
                    <a:pt x="5" y="1271"/>
                  </a:cubicBezTo>
                  <a:cubicBezTo>
                    <a:pt x="20" y="1201"/>
                    <a:pt x="74" y="1192"/>
                    <a:pt x="94" y="1192"/>
                  </a:cubicBezTo>
                  <a:cubicBezTo>
                    <a:pt x="122" y="1192"/>
                    <a:pt x="153" y="1207"/>
                    <a:pt x="144" y="1249"/>
                  </a:cubicBezTo>
                  <a:cubicBezTo>
                    <a:pt x="100" y="1249"/>
                    <a:pt x="100" y="1249"/>
                    <a:pt x="100" y="1249"/>
                  </a:cubicBezTo>
                  <a:cubicBezTo>
                    <a:pt x="100" y="1249"/>
                    <a:pt x="100" y="1249"/>
                    <a:pt x="100" y="1249"/>
                  </a:cubicBezTo>
                  <a:close/>
                  <a:moveTo>
                    <a:pt x="2378" y="1249"/>
                  </a:moveTo>
                  <a:cubicBezTo>
                    <a:pt x="2379" y="1244"/>
                    <a:pt x="2382" y="1221"/>
                    <a:pt x="2365" y="1221"/>
                  </a:cubicBezTo>
                  <a:cubicBezTo>
                    <a:pt x="2344" y="1221"/>
                    <a:pt x="2335" y="1253"/>
                    <a:pt x="2331" y="1270"/>
                  </a:cubicBezTo>
                  <a:cubicBezTo>
                    <a:pt x="2329" y="1278"/>
                    <a:pt x="2324" y="1306"/>
                    <a:pt x="2332" y="1317"/>
                  </a:cubicBezTo>
                  <a:cubicBezTo>
                    <a:pt x="2335" y="1321"/>
                    <a:pt x="2340" y="1322"/>
                    <a:pt x="2343" y="1322"/>
                  </a:cubicBezTo>
                  <a:cubicBezTo>
                    <a:pt x="2348" y="1322"/>
                    <a:pt x="2362" y="1320"/>
                    <a:pt x="2370" y="1292"/>
                  </a:cubicBezTo>
                  <a:cubicBezTo>
                    <a:pt x="2414" y="1292"/>
                    <a:pt x="2414" y="1292"/>
                    <a:pt x="2414" y="1292"/>
                  </a:cubicBezTo>
                  <a:cubicBezTo>
                    <a:pt x="2411" y="1304"/>
                    <a:pt x="2406" y="1323"/>
                    <a:pt x="2385" y="1337"/>
                  </a:cubicBezTo>
                  <a:cubicBezTo>
                    <a:pt x="2372" y="1347"/>
                    <a:pt x="2357" y="1352"/>
                    <a:pt x="2338" y="1352"/>
                  </a:cubicBezTo>
                  <a:cubicBezTo>
                    <a:pt x="2318" y="1352"/>
                    <a:pt x="2301" y="1347"/>
                    <a:pt x="2290" y="1331"/>
                  </a:cubicBezTo>
                  <a:cubicBezTo>
                    <a:pt x="2280" y="1316"/>
                    <a:pt x="2278" y="1296"/>
                    <a:pt x="2284" y="1271"/>
                  </a:cubicBezTo>
                  <a:cubicBezTo>
                    <a:pt x="2299" y="1201"/>
                    <a:pt x="2352" y="1192"/>
                    <a:pt x="2372" y="1192"/>
                  </a:cubicBezTo>
                  <a:cubicBezTo>
                    <a:pt x="2401" y="1192"/>
                    <a:pt x="2431" y="1207"/>
                    <a:pt x="2423" y="1249"/>
                  </a:cubicBezTo>
                  <a:cubicBezTo>
                    <a:pt x="2378" y="1249"/>
                    <a:pt x="2378" y="1249"/>
                    <a:pt x="2378" y="1249"/>
                  </a:cubicBezTo>
                  <a:cubicBezTo>
                    <a:pt x="2378" y="1249"/>
                    <a:pt x="2378" y="1249"/>
                    <a:pt x="2378" y="1249"/>
                  </a:cubicBezTo>
                  <a:close/>
                  <a:moveTo>
                    <a:pt x="2534" y="1191"/>
                  </a:moveTo>
                  <a:cubicBezTo>
                    <a:pt x="2589" y="1191"/>
                    <a:pt x="2606" y="1229"/>
                    <a:pt x="2597" y="1271"/>
                  </a:cubicBezTo>
                  <a:cubicBezTo>
                    <a:pt x="2587" y="1315"/>
                    <a:pt x="2554" y="1353"/>
                    <a:pt x="2498" y="1353"/>
                  </a:cubicBezTo>
                  <a:cubicBezTo>
                    <a:pt x="2454" y="1353"/>
                    <a:pt x="2426" y="1326"/>
                    <a:pt x="2437" y="1273"/>
                  </a:cubicBezTo>
                  <a:cubicBezTo>
                    <a:pt x="2445" y="1236"/>
                    <a:pt x="2474" y="1191"/>
                    <a:pt x="2534" y="1191"/>
                  </a:cubicBezTo>
                  <a:moveTo>
                    <a:pt x="2507" y="1322"/>
                  </a:moveTo>
                  <a:cubicBezTo>
                    <a:pt x="2527" y="1322"/>
                    <a:pt x="2542" y="1310"/>
                    <a:pt x="2551" y="1270"/>
                  </a:cubicBezTo>
                  <a:cubicBezTo>
                    <a:pt x="2555" y="1250"/>
                    <a:pt x="2557" y="1221"/>
                    <a:pt x="2528" y="1221"/>
                  </a:cubicBezTo>
                  <a:cubicBezTo>
                    <a:pt x="2495" y="1221"/>
                    <a:pt x="2486" y="1259"/>
                    <a:pt x="2484" y="1273"/>
                  </a:cubicBezTo>
                  <a:cubicBezTo>
                    <a:pt x="2476" y="1307"/>
                    <a:pt x="2484" y="1322"/>
                    <a:pt x="2507" y="1322"/>
                  </a:cubicBezTo>
                  <a:moveTo>
                    <a:pt x="2637" y="1223"/>
                  </a:moveTo>
                  <a:cubicBezTo>
                    <a:pt x="2639" y="1214"/>
                    <a:pt x="2640" y="1205"/>
                    <a:pt x="2641" y="1195"/>
                  </a:cubicBezTo>
                  <a:cubicBezTo>
                    <a:pt x="2685" y="1195"/>
                    <a:pt x="2685" y="1195"/>
                    <a:pt x="2685" y="1195"/>
                  </a:cubicBezTo>
                  <a:cubicBezTo>
                    <a:pt x="2682" y="1214"/>
                    <a:pt x="2682" y="1214"/>
                    <a:pt x="2682" y="1214"/>
                  </a:cubicBezTo>
                  <a:cubicBezTo>
                    <a:pt x="2688" y="1208"/>
                    <a:pt x="2704" y="1192"/>
                    <a:pt x="2734" y="1192"/>
                  </a:cubicBezTo>
                  <a:cubicBezTo>
                    <a:pt x="2769" y="1192"/>
                    <a:pt x="2775" y="1213"/>
                    <a:pt x="2776" y="1220"/>
                  </a:cubicBezTo>
                  <a:cubicBezTo>
                    <a:pt x="2795" y="1196"/>
                    <a:pt x="2816" y="1192"/>
                    <a:pt x="2832" y="1192"/>
                  </a:cubicBezTo>
                  <a:cubicBezTo>
                    <a:pt x="2862" y="1192"/>
                    <a:pt x="2871" y="1210"/>
                    <a:pt x="2873" y="1216"/>
                  </a:cubicBezTo>
                  <a:cubicBezTo>
                    <a:pt x="2878" y="1230"/>
                    <a:pt x="2874" y="1248"/>
                    <a:pt x="2871" y="1261"/>
                  </a:cubicBezTo>
                  <a:cubicBezTo>
                    <a:pt x="2853" y="1348"/>
                    <a:pt x="2853" y="1348"/>
                    <a:pt x="2853" y="1348"/>
                  </a:cubicBezTo>
                  <a:cubicBezTo>
                    <a:pt x="2807" y="1348"/>
                    <a:pt x="2807" y="1348"/>
                    <a:pt x="2807" y="1348"/>
                  </a:cubicBezTo>
                  <a:cubicBezTo>
                    <a:pt x="2827" y="1258"/>
                    <a:pt x="2827" y="1258"/>
                    <a:pt x="2827" y="1258"/>
                  </a:cubicBezTo>
                  <a:cubicBezTo>
                    <a:pt x="2830" y="1242"/>
                    <a:pt x="2832" y="1223"/>
                    <a:pt x="2808" y="1223"/>
                  </a:cubicBezTo>
                  <a:cubicBezTo>
                    <a:pt x="2781" y="1223"/>
                    <a:pt x="2775" y="1249"/>
                    <a:pt x="2771" y="1271"/>
                  </a:cubicBezTo>
                  <a:cubicBezTo>
                    <a:pt x="2754" y="1348"/>
                    <a:pt x="2754" y="1348"/>
                    <a:pt x="2754" y="1348"/>
                  </a:cubicBezTo>
                  <a:cubicBezTo>
                    <a:pt x="2709" y="1348"/>
                    <a:pt x="2709" y="1348"/>
                    <a:pt x="2709" y="1348"/>
                  </a:cubicBezTo>
                  <a:cubicBezTo>
                    <a:pt x="2728" y="1257"/>
                    <a:pt x="2728" y="1257"/>
                    <a:pt x="2728" y="1257"/>
                  </a:cubicBezTo>
                  <a:cubicBezTo>
                    <a:pt x="2731" y="1245"/>
                    <a:pt x="2735" y="1223"/>
                    <a:pt x="2710" y="1223"/>
                  </a:cubicBezTo>
                  <a:cubicBezTo>
                    <a:pt x="2682" y="1223"/>
                    <a:pt x="2677" y="1248"/>
                    <a:pt x="2674" y="1258"/>
                  </a:cubicBezTo>
                  <a:cubicBezTo>
                    <a:pt x="2655" y="1348"/>
                    <a:pt x="2655" y="1348"/>
                    <a:pt x="2655" y="1348"/>
                  </a:cubicBezTo>
                  <a:cubicBezTo>
                    <a:pt x="2610" y="1348"/>
                    <a:pt x="2610" y="1348"/>
                    <a:pt x="2610" y="1348"/>
                  </a:cubicBezTo>
                  <a:cubicBezTo>
                    <a:pt x="2637" y="1223"/>
                    <a:pt x="2637" y="1223"/>
                    <a:pt x="2637" y="1223"/>
                  </a:cubicBezTo>
                  <a:cubicBezTo>
                    <a:pt x="2637" y="1223"/>
                    <a:pt x="2637" y="1223"/>
                    <a:pt x="2637" y="1223"/>
                  </a:cubicBezTo>
                  <a:close/>
                  <a:moveTo>
                    <a:pt x="2966" y="1195"/>
                  </a:moveTo>
                  <a:cubicBezTo>
                    <a:pt x="2963" y="1216"/>
                    <a:pt x="2963" y="1216"/>
                    <a:pt x="2963" y="1216"/>
                  </a:cubicBezTo>
                  <a:cubicBezTo>
                    <a:pt x="2982" y="1192"/>
                    <a:pt x="3008" y="1192"/>
                    <a:pt x="3015" y="1192"/>
                  </a:cubicBezTo>
                  <a:cubicBezTo>
                    <a:pt x="3054" y="1192"/>
                    <a:pt x="3072" y="1221"/>
                    <a:pt x="3062" y="1268"/>
                  </a:cubicBezTo>
                  <a:cubicBezTo>
                    <a:pt x="3053" y="1312"/>
                    <a:pt x="3022" y="1350"/>
                    <a:pt x="2978" y="1350"/>
                  </a:cubicBezTo>
                  <a:cubicBezTo>
                    <a:pt x="2950" y="1350"/>
                    <a:pt x="2942" y="1335"/>
                    <a:pt x="2939" y="1330"/>
                  </a:cubicBezTo>
                  <a:cubicBezTo>
                    <a:pt x="2923" y="1407"/>
                    <a:pt x="2923" y="1407"/>
                    <a:pt x="2923" y="1407"/>
                  </a:cubicBezTo>
                  <a:cubicBezTo>
                    <a:pt x="2877" y="1407"/>
                    <a:pt x="2877" y="1407"/>
                    <a:pt x="2877" y="1407"/>
                  </a:cubicBezTo>
                  <a:cubicBezTo>
                    <a:pt x="2922" y="1195"/>
                    <a:pt x="2922" y="1195"/>
                    <a:pt x="2922" y="1195"/>
                  </a:cubicBezTo>
                  <a:cubicBezTo>
                    <a:pt x="2966" y="1195"/>
                    <a:pt x="2966" y="1195"/>
                    <a:pt x="2966" y="1195"/>
                  </a:cubicBezTo>
                  <a:cubicBezTo>
                    <a:pt x="2966" y="1195"/>
                    <a:pt x="2966" y="1195"/>
                    <a:pt x="2966" y="1195"/>
                  </a:cubicBezTo>
                  <a:close/>
                  <a:moveTo>
                    <a:pt x="3017" y="1270"/>
                  </a:moveTo>
                  <a:cubicBezTo>
                    <a:pt x="3020" y="1252"/>
                    <a:pt x="3022" y="1221"/>
                    <a:pt x="2996" y="1221"/>
                  </a:cubicBezTo>
                  <a:cubicBezTo>
                    <a:pt x="2981" y="1221"/>
                    <a:pt x="2959" y="1232"/>
                    <a:pt x="2950" y="1273"/>
                  </a:cubicBezTo>
                  <a:cubicBezTo>
                    <a:pt x="2947" y="1282"/>
                    <a:pt x="2940" y="1321"/>
                    <a:pt x="2973" y="1321"/>
                  </a:cubicBezTo>
                  <a:cubicBezTo>
                    <a:pt x="2994" y="1321"/>
                    <a:pt x="3010" y="1300"/>
                    <a:pt x="3017" y="1270"/>
                  </a:cubicBezTo>
                  <a:moveTo>
                    <a:pt x="3119" y="1129"/>
                  </a:moveTo>
                  <a:cubicBezTo>
                    <a:pt x="3164" y="1129"/>
                    <a:pt x="3164" y="1129"/>
                    <a:pt x="3164" y="1129"/>
                  </a:cubicBezTo>
                  <a:cubicBezTo>
                    <a:pt x="3117" y="1348"/>
                    <a:pt x="3117" y="1348"/>
                    <a:pt x="3117" y="1348"/>
                  </a:cubicBezTo>
                  <a:cubicBezTo>
                    <a:pt x="3072" y="1348"/>
                    <a:pt x="3072" y="1348"/>
                    <a:pt x="3072" y="1348"/>
                  </a:cubicBezTo>
                  <a:cubicBezTo>
                    <a:pt x="3119" y="1129"/>
                    <a:pt x="3119" y="1129"/>
                    <a:pt x="3119" y="1129"/>
                  </a:cubicBezTo>
                  <a:cubicBezTo>
                    <a:pt x="3119" y="1129"/>
                    <a:pt x="3119" y="1129"/>
                    <a:pt x="3119" y="1129"/>
                  </a:cubicBezTo>
                  <a:close/>
                  <a:moveTo>
                    <a:pt x="3202" y="1283"/>
                  </a:moveTo>
                  <a:cubicBezTo>
                    <a:pt x="3200" y="1293"/>
                    <a:pt x="3193" y="1324"/>
                    <a:pt x="3225" y="1324"/>
                  </a:cubicBezTo>
                  <a:cubicBezTo>
                    <a:pt x="3236" y="1324"/>
                    <a:pt x="3248" y="1319"/>
                    <a:pt x="3256" y="1303"/>
                  </a:cubicBezTo>
                  <a:cubicBezTo>
                    <a:pt x="3297" y="1303"/>
                    <a:pt x="3297" y="1303"/>
                    <a:pt x="3297" y="1303"/>
                  </a:cubicBezTo>
                  <a:cubicBezTo>
                    <a:pt x="3295" y="1310"/>
                    <a:pt x="3291" y="1323"/>
                    <a:pt x="3275" y="1336"/>
                  </a:cubicBezTo>
                  <a:cubicBezTo>
                    <a:pt x="3261" y="1348"/>
                    <a:pt x="3240" y="1354"/>
                    <a:pt x="3218" y="1354"/>
                  </a:cubicBezTo>
                  <a:cubicBezTo>
                    <a:pt x="3205" y="1354"/>
                    <a:pt x="3180" y="1351"/>
                    <a:pt x="3168" y="1335"/>
                  </a:cubicBezTo>
                  <a:cubicBezTo>
                    <a:pt x="3157" y="1320"/>
                    <a:pt x="3155" y="1299"/>
                    <a:pt x="3161" y="1275"/>
                  </a:cubicBezTo>
                  <a:cubicBezTo>
                    <a:pt x="3166" y="1250"/>
                    <a:pt x="3178" y="1220"/>
                    <a:pt x="3208" y="1202"/>
                  </a:cubicBezTo>
                  <a:cubicBezTo>
                    <a:pt x="3222" y="1194"/>
                    <a:pt x="3237" y="1190"/>
                    <a:pt x="3254" y="1190"/>
                  </a:cubicBezTo>
                  <a:cubicBezTo>
                    <a:pt x="3276" y="1190"/>
                    <a:pt x="3300" y="1198"/>
                    <a:pt x="3308" y="1227"/>
                  </a:cubicBezTo>
                  <a:cubicBezTo>
                    <a:pt x="3314" y="1248"/>
                    <a:pt x="3309" y="1270"/>
                    <a:pt x="3305" y="1283"/>
                  </a:cubicBezTo>
                  <a:cubicBezTo>
                    <a:pt x="3202" y="1283"/>
                    <a:pt x="3202" y="1283"/>
                    <a:pt x="3202" y="1283"/>
                  </a:cubicBezTo>
                  <a:cubicBezTo>
                    <a:pt x="3202" y="1283"/>
                    <a:pt x="3202" y="1283"/>
                    <a:pt x="3202" y="1283"/>
                  </a:cubicBezTo>
                  <a:close/>
                  <a:moveTo>
                    <a:pt x="3265" y="1254"/>
                  </a:moveTo>
                  <a:cubicBezTo>
                    <a:pt x="3267" y="1248"/>
                    <a:pt x="3272" y="1220"/>
                    <a:pt x="3246" y="1220"/>
                  </a:cubicBezTo>
                  <a:cubicBezTo>
                    <a:pt x="3226" y="1220"/>
                    <a:pt x="3214" y="1236"/>
                    <a:pt x="3210" y="1254"/>
                  </a:cubicBezTo>
                  <a:cubicBezTo>
                    <a:pt x="3265" y="1254"/>
                    <a:pt x="3265" y="1254"/>
                    <a:pt x="3265" y="1254"/>
                  </a:cubicBezTo>
                  <a:cubicBezTo>
                    <a:pt x="3265" y="1254"/>
                    <a:pt x="3265" y="1254"/>
                    <a:pt x="3265" y="1254"/>
                  </a:cubicBezTo>
                  <a:close/>
                  <a:moveTo>
                    <a:pt x="3383" y="1195"/>
                  </a:moveTo>
                  <a:cubicBezTo>
                    <a:pt x="3401" y="1245"/>
                    <a:pt x="3401" y="1245"/>
                    <a:pt x="3401" y="1245"/>
                  </a:cubicBezTo>
                  <a:cubicBezTo>
                    <a:pt x="3442" y="1195"/>
                    <a:pt x="3442" y="1195"/>
                    <a:pt x="3442" y="1195"/>
                  </a:cubicBezTo>
                  <a:cubicBezTo>
                    <a:pt x="3488" y="1195"/>
                    <a:pt x="3488" y="1195"/>
                    <a:pt x="3488" y="1195"/>
                  </a:cubicBezTo>
                  <a:cubicBezTo>
                    <a:pt x="3423" y="1269"/>
                    <a:pt x="3423" y="1269"/>
                    <a:pt x="3423" y="1269"/>
                  </a:cubicBezTo>
                  <a:cubicBezTo>
                    <a:pt x="3457" y="1348"/>
                    <a:pt x="3457" y="1348"/>
                    <a:pt x="3457" y="1348"/>
                  </a:cubicBezTo>
                  <a:cubicBezTo>
                    <a:pt x="3404" y="1348"/>
                    <a:pt x="3404" y="1348"/>
                    <a:pt x="3404" y="1348"/>
                  </a:cubicBezTo>
                  <a:cubicBezTo>
                    <a:pt x="3385" y="1292"/>
                    <a:pt x="3385" y="1292"/>
                    <a:pt x="3385" y="1292"/>
                  </a:cubicBezTo>
                  <a:cubicBezTo>
                    <a:pt x="3342" y="1348"/>
                    <a:pt x="3342" y="1348"/>
                    <a:pt x="3342" y="1348"/>
                  </a:cubicBezTo>
                  <a:cubicBezTo>
                    <a:pt x="3295" y="1348"/>
                    <a:pt x="3295" y="1348"/>
                    <a:pt x="3295" y="1348"/>
                  </a:cubicBezTo>
                  <a:cubicBezTo>
                    <a:pt x="3364" y="1266"/>
                    <a:pt x="3364" y="1266"/>
                    <a:pt x="3364" y="1266"/>
                  </a:cubicBezTo>
                  <a:cubicBezTo>
                    <a:pt x="3329" y="1195"/>
                    <a:pt x="3329" y="1195"/>
                    <a:pt x="3329" y="1195"/>
                  </a:cubicBezTo>
                  <a:cubicBezTo>
                    <a:pt x="3383" y="1195"/>
                    <a:pt x="3383" y="1195"/>
                    <a:pt x="3383" y="1195"/>
                  </a:cubicBezTo>
                  <a:cubicBezTo>
                    <a:pt x="3383" y="1195"/>
                    <a:pt x="3383" y="1195"/>
                    <a:pt x="3383" y="1195"/>
                  </a:cubicBezTo>
                  <a:close/>
                  <a:moveTo>
                    <a:pt x="3509" y="1194"/>
                  </a:moveTo>
                  <a:cubicBezTo>
                    <a:pt x="3554" y="1194"/>
                    <a:pt x="3554" y="1194"/>
                    <a:pt x="3554" y="1194"/>
                  </a:cubicBezTo>
                  <a:cubicBezTo>
                    <a:pt x="3521" y="1348"/>
                    <a:pt x="3521" y="1348"/>
                    <a:pt x="3521" y="1348"/>
                  </a:cubicBezTo>
                  <a:cubicBezTo>
                    <a:pt x="3476" y="1348"/>
                    <a:pt x="3476" y="1348"/>
                    <a:pt x="3476" y="1348"/>
                  </a:cubicBezTo>
                  <a:cubicBezTo>
                    <a:pt x="3509" y="1194"/>
                    <a:pt x="3509" y="1194"/>
                    <a:pt x="3509" y="1194"/>
                  </a:cubicBezTo>
                  <a:cubicBezTo>
                    <a:pt x="3509" y="1194"/>
                    <a:pt x="3509" y="1194"/>
                    <a:pt x="3509" y="1194"/>
                  </a:cubicBezTo>
                  <a:close/>
                  <a:moveTo>
                    <a:pt x="3521" y="1129"/>
                  </a:moveTo>
                  <a:cubicBezTo>
                    <a:pt x="3569" y="1129"/>
                    <a:pt x="3569" y="1129"/>
                    <a:pt x="3569" y="1129"/>
                  </a:cubicBezTo>
                  <a:cubicBezTo>
                    <a:pt x="3561" y="1168"/>
                    <a:pt x="3561" y="1168"/>
                    <a:pt x="3561" y="1168"/>
                  </a:cubicBezTo>
                  <a:cubicBezTo>
                    <a:pt x="3513" y="1168"/>
                    <a:pt x="3513" y="1168"/>
                    <a:pt x="3513" y="1168"/>
                  </a:cubicBezTo>
                  <a:cubicBezTo>
                    <a:pt x="3521" y="1129"/>
                    <a:pt x="3521" y="1129"/>
                    <a:pt x="3521" y="1129"/>
                  </a:cubicBezTo>
                  <a:cubicBezTo>
                    <a:pt x="3521" y="1129"/>
                    <a:pt x="3521" y="1129"/>
                    <a:pt x="3521" y="1129"/>
                  </a:cubicBezTo>
                  <a:close/>
                  <a:moveTo>
                    <a:pt x="3649" y="1346"/>
                  </a:moveTo>
                  <a:cubicBezTo>
                    <a:pt x="3634" y="1350"/>
                    <a:pt x="3621" y="1351"/>
                    <a:pt x="3614" y="1351"/>
                  </a:cubicBezTo>
                  <a:cubicBezTo>
                    <a:pt x="3568" y="1351"/>
                    <a:pt x="3575" y="1322"/>
                    <a:pt x="3577" y="1310"/>
                  </a:cubicBezTo>
                  <a:cubicBezTo>
                    <a:pt x="3595" y="1225"/>
                    <a:pt x="3595" y="1225"/>
                    <a:pt x="3595" y="1225"/>
                  </a:cubicBezTo>
                  <a:cubicBezTo>
                    <a:pt x="3565" y="1225"/>
                    <a:pt x="3565" y="1225"/>
                    <a:pt x="3565" y="1225"/>
                  </a:cubicBezTo>
                  <a:cubicBezTo>
                    <a:pt x="3572" y="1196"/>
                    <a:pt x="3572" y="1196"/>
                    <a:pt x="3572" y="1196"/>
                  </a:cubicBezTo>
                  <a:cubicBezTo>
                    <a:pt x="3601" y="1196"/>
                    <a:pt x="3601" y="1196"/>
                    <a:pt x="3601" y="1196"/>
                  </a:cubicBezTo>
                  <a:cubicBezTo>
                    <a:pt x="3608" y="1166"/>
                    <a:pt x="3608" y="1166"/>
                    <a:pt x="3608" y="1166"/>
                  </a:cubicBezTo>
                  <a:cubicBezTo>
                    <a:pt x="3656" y="1149"/>
                    <a:pt x="3656" y="1149"/>
                    <a:pt x="3656" y="1149"/>
                  </a:cubicBezTo>
                  <a:cubicBezTo>
                    <a:pt x="3646" y="1196"/>
                    <a:pt x="3646" y="1196"/>
                    <a:pt x="3646" y="1196"/>
                  </a:cubicBezTo>
                  <a:cubicBezTo>
                    <a:pt x="3682" y="1196"/>
                    <a:pt x="3682" y="1196"/>
                    <a:pt x="3682" y="1196"/>
                  </a:cubicBezTo>
                  <a:cubicBezTo>
                    <a:pt x="3676" y="1225"/>
                    <a:pt x="3676" y="1225"/>
                    <a:pt x="3676" y="1225"/>
                  </a:cubicBezTo>
                  <a:cubicBezTo>
                    <a:pt x="3640" y="1225"/>
                    <a:pt x="3640" y="1225"/>
                    <a:pt x="3640" y="1225"/>
                  </a:cubicBezTo>
                  <a:cubicBezTo>
                    <a:pt x="3625" y="1295"/>
                    <a:pt x="3625" y="1295"/>
                    <a:pt x="3625" y="1295"/>
                  </a:cubicBezTo>
                  <a:cubicBezTo>
                    <a:pt x="3622" y="1309"/>
                    <a:pt x="3620" y="1317"/>
                    <a:pt x="3640" y="1317"/>
                  </a:cubicBezTo>
                  <a:cubicBezTo>
                    <a:pt x="3647" y="1317"/>
                    <a:pt x="3650" y="1317"/>
                    <a:pt x="3656" y="1317"/>
                  </a:cubicBezTo>
                  <a:cubicBezTo>
                    <a:pt x="3649" y="1346"/>
                    <a:pt x="3649" y="1346"/>
                    <a:pt x="3649" y="1346"/>
                  </a:cubicBezTo>
                  <a:cubicBezTo>
                    <a:pt x="3649" y="1346"/>
                    <a:pt x="3649" y="1346"/>
                    <a:pt x="3649" y="1346"/>
                  </a:cubicBezTo>
                  <a:close/>
                  <a:moveTo>
                    <a:pt x="3741" y="1195"/>
                  </a:moveTo>
                  <a:cubicBezTo>
                    <a:pt x="3752" y="1301"/>
                    <a:pt x="3752" y="1301"/>
                    <a:pt x="3752" y="1301"/>
                  </a:cubicBezTo>
                  <a:cubicBezTo>
                    <a:pt x="3809" y="1195"/>
                    <a:pt x="3809" y="1195"/>
                    <a:pt x="3809" y="1195"/>
                  </a:cubicBezTo>
                  <a:cubicBezTo>
                    <a:pt x="3854" y="1195"/>
                    <a:pt x="3854" y="1195"/>
                    <a:pt x="3854" y="1195"/>
                  </a:cubicBezTo>
                  <a:cubicBezTo>
                    <a:pt x="3764" y="1345"/>
                    <a:pt x="3764" y="1345"/>
                    <a:pt x="3764" y="1345"/>
                  </a:cubicBezTo>
                  <a:cubicBezTo>
                    <a:pt x="3732" y="1406"/>
                    <a:pt x="3732" y="1406"/>
                    <a:pt x="3732" y="1406"/>
                  </a:cubicBezTo>
                  <a:cubicBezTo>
                    <a:pt x="3687" y="1406"/>
                    <a:pt x="3687" y="1406"/>
                    <a:pt x="3687" y="1406"/>
                  </a:cubicBezTo>
                  <a:cubicBezTo>
                    <a:pt x="3719" y="1348"/>
                    <a:pt x="3719" y="1348"/>
                    <a:pt x="3719" y="1348"/>
                  </a:cubicBezTo>
                  <a:cubicBezTo>
                    <a:pt x="3693" y="1195"/>
                    <a:pt x="3693" y="1195"/>
                    <a:pt x="3693" y="1195"/>
                  </a:cubicBezTo>
                  <a:cubicBezTo>
                    <a:pt x="3741" y="1195"/>
                    <a:pt x="3741" y="1195"/>
                    <a:pt x="3741" y="1195"/>
                  </a:cubicBezTo>
                  <a:cubicBezTo>
                    <a:pt x="3741" y="1195"/>
                    <a:pt x="3741" y="1195"/>
                    <a:pt x="3741" y="1195"/>
                  </a:cubicBezTo>
                  <a:close/>
                  <a:moveTo>
                    <a:pt x="3933" y="1145"/>
                  </a:moveTo>
                  <a:cubicBezTo>
                    <a:pt x="3899" y="1145"/>
                    <a:pt x="3899" y="1145"/>
                    <a:pt x="3899" y="1145"/>
                  </a:cubicBezTo>
                  <a:cubicBezTo>
                    <a:pt x="3902" y="1129"/>
                    <a:pt x="3902" y="1129"/>
                    <a:pt x="3902" y="1129"/>
                  </a:cubicBezTo>
                  <a:cubicBezTo>
                    <a:pt x="3990" y="1129"/>
                    <a:pt x="3990" y="1129"/>
                    <a:pt x="3990" y="1129"/>
                  </a:cubicBezTo>
                  <a:cubicBezTo>
                    <a:pt x="3987" y="1145"/>
                    <a:pt x="3987" y="1145"/>
                    <a:pt x="3987" y="1145"/>
                  </a:cubicBezTo>
                  <a:cubicBezTo>
                    <a:pt x="3953" y="1145"/>
                    <a:pt x="3953" y="1145"/>
                    <a:pt x="3953" y="1145"/>
                  </a:cubicBezTo>
                  <a:cubicBezTo>
                    <a:pt x="3936" y="1225"/>
                    <a:pt x="3936" y="1225"/>
                    <a:pt x="3936" y="1225"/>
                  </a:cubicBezTo>
                  <a:cubicBezTo>
                    <a:pt x="3916" y="1225"/>
                    <a:pt x="3916" y="1225"/>
                    <a:pt x="3916" y="1225"/>
                  </a:cubicBezTo>
                  <a:cubicBezTo>
                    <a:pt x="3933" y="1145"/>
                    <a:pt x="3933" y="1145"/>
                    <a:pt x="3933" y="1145"/>
                  </a:cubicBezTo>
                  <a:cubicBezTo>
                    <a:pt x="3933" y="1145"/>
                    <a:pt x="3933" y="1145"/>
                    <a:pt x="3933" y="1145"/>
                  </a:cubicBezTo>
                  <a:close/>
                  <a:moveTo>
                    <a:pt x="3999" y="1129"/>
                  </a:moveTo>
                  <a:cubicBezTo>
                    <a:pt x="4031" y="1129"/>
                    <a:pt x="4031" y="1129"/>
                    <a:pt x="4031" y="1129"/>
                  </a:cubicBezTo>
                  <a:cubicBezTo>
                    <a:pt x="4036" y="1200"/>
                    <a:pt x="4036" y="1200"/>
                    <a:pt x="4036" y="1200"/>
                  </a:cubicBezTo>
                  <a:cubicBezTo>
                    <a:pt x="4072" y="1129"/>
                    <a:pt x="4072" y="1129"/>
                    <a:pt x="4072" y="1129"/>
                  </a:cubicBezTo>
                  <a:cubicBezTo>
                    <a:pt x="4103" y="1129"/>
                    <a:pt x="4103" y="1129"/>
                    <a:pt x="4103" y="1129"/>
                  </a:cubicBezTo>
                  <a:cubicBezTo>
                    <a:pt x="4083" y="1225"/>
                    <a:pt x="4083" y="1225"/>
                    <a:pt x="4083" y="1225"/>
                  </a:cubicBezTo>
                  <a:cubicBezTo>
                    <a:pt x="4063" y="1225"/>
                    <a:pt x="4063" y="1225"/>
                    <a:pt x="4063" y="1225"/>
                  </a:cubicBezTo>
                  <a:cubicBezTo>
                    <a:pt x="4080" y="1143"/>
                    <a:pt x="4080" y="1143"/>
                    <a:pt x="4080" y="1143"/>
                  </a:cubicBezTo>
                  <a:cubicBezTo>
                    <a:pt x="4038" y="1225"/>
                    <a:pt x="4038" y="1225"/>
                    <a:pt x="4038" y="1225"/>
                  </a:cubicBezTo>
                  <a:cubicBezTo>
                    <a:pt x="4021" y="1225"/>
                    <a:pt x="4021" y="1225"/>
                    <a:pt x="4021" y="1225"/>
                  </a:cubicBezTo>
                  <a:cubicBezTo>
                    <a:pt x="4014" y="1143"/>
                    <a:pt x="4014" y="1143"/>
                    <a:pt x="4014" y="1143"/>
                  </a:cubicBezTo>
                  <a:cubicBezTo>
                    <a:pt x="3997" y="1225"/>
                    <a:pt x="3997" y="1225"/>
                    <a:pt x="3997" y="1225"/>
                  </a:cubicBezTo>
                  <a:cubicBezTo>
                    <a:pt x="3978" y="1225"/>
                    <a:pt x="3978" y="1225"/>
                    <a:pt x="3978" y="1225"/>
                  </a:cubicBezTo>
                  <a:cubicBezTo>
                    <a:pt x="3999" y="1129"/>
                    <a:pt x="3999" y="1129"/>
                    <a:pt x="3999" y="1129"/>
                  </a:cubicBezTo>
                  <a:cubicBezTo>
                    <a:pt x="3999" y="1129"/>
                    <a:pt x="3999" y="1129"/>
                    <a:pt x="3999" y="112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 userDrawn="1"/>
          </p:nvSpPr>
          <p:spPr bwMode="gray">
            <a:xfrm>
              <a:off x="68" y="0"/>
              <a:ext cx="1723" cy="964"/>
            </a:xfrm>
            <a:custGeom>
              <a:avLst/>
              <a:gdLst>
                <a:gd name="T0" fmla="*/ 231 w 2268"/>
                <a:gd name="T1" fmla="*/ 327 h 1269"/>
                <a:gd name="T2" fmla="*/ 0 w 2268"/>
                <a:gd name="T3" fmla="*/ 327 h 1269"/>
                <a:gd name="T4" fmla="*/ 0 w 2268"/>
                <a:gd name="T5" fmla="*/ 0 h 1269"/>
                <a:gd name="T6" fmla="*/ 231 w 2268"/>
                <a:gd name="T7" fmla="*/ 0 h 1269"/>
                <a:gd name="T8" fmla="*/ 231 w 2268"/>
                <a:gd name="T9" fmla="*/ 327 h 1269"/>
                <a:gd name="T10" fmla="*/ 2268 w 2268"/>
                <a:gd name="T11" fmla="*/ 0 h 1269"/>
                <a:gd name="T12" fmla="*/ 2036 w 2268"/>
                <a:gd name="T13" fmla="*/ 0 h 1269"/>
                <a:gd name="T14" fmla="*/ 2036 w 2268"/>
                <a:gd name="T15" fmla="*/ 327 h 1269"/>
                <a:gd name="T16" fmla="*/ 2268 w 2268"/>
                <a:gd name="T17" fmla="*/ 327 h 1269"/>
                <a:gd name="T18" fmla="*/ 2268 w 2268"/>
                <a:gd name="T19" fmla="*/ 0 h 1269"/>
                <a:gd name="T20" fmla="*/ 231 w 2268"/>
                <a:gd name="T21" fmla="*/ 942 h 1269"/>
                <a:gd name="T22" fmla="*/ 0 w 2268"/>
                <a:gd name="T23" fmla="*/ 942 h 1269"/>
                <a:gd name="T24" fmla="*/ 0 w 2268"/>
                <a:gd name="T25" fmla="*/ 1269 h 1269"/>
                <a:gd name="T26" fmla="*/ 231 w 2268"/>
                <a:gd name="T27" fmla="*/ 1269 h 1269"/>
                <a:gd name="T28" fmla="*/ 231 w 2268"/>
                <a:gd name="T29" fmla="*/ 942 h 1269"/>
                <a:gd name="T30" fmla="*/ 2268 w 2268"/>
                <a:gd name="T31" fmla="*/ 942 h 1269"/>
                <a:gd name="T32" fmla="*/ 2036 w 2268"/>
                <a:gd name="T33" fmla="*/ 942 h 1269"/>
                <a:gd name="T34" fmla="*/ 2036 w 2268"/>
                <a:gd name="T35" fmla="*/ 1269 h 1269"/>
                <a:gd name="T36" fmla="*/ 2268 w 2268"/>
                <a:gd name="T37" fmla="*/ 1269 h 1269"/>
                <a:gd name="T38" fmla="*/ 2268 w 2268"/>
                <a:gd name="T39" fmla="*/ 942 h 126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8"/>
                <a:gd name="T61" fmla="*/ 0 h 1269"/>
                <a:gd name="T62" fmla="*/ 2268 w 2268"/>
                <a:gd name="T63" fmla="*/ 1269 h 126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8" h="1269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2268" y="0"/>
                  </a:moveTo>
                  <a:lnTo>
                    <a:pt x="2036" y="0"/>
                  </a:lnTo>
                  <a:lnTo>
                    <a:pt x="2036" y="327"/>
                  </a:lnTo>
                  <a:lnTo>
                    <a:pt x="2268" y="327"/>
                  </a:lnTo>
                  <a:lnTo>
                    <a:pt x="2268" y="0"/>
                  </a:lnTo>
                  <a:close/>
                  <a:moveTo>
                    <a:pt x="231" y="942"/>
                  </a:moveTo>
                  <a:lnTo>
                    <a:pt x="0" y="942"/>
                  </a:lnTo>
                  <a:lnTo>
                    <a:pt x="0" y="1269"/>
                  </a:lnTo>
                  <a:lnTo>
                    <a:pt x="231" y="1269"/>
                  </a:lnTo>
                  <a:lnTo>
                    <a:pt x="231" y="942"/>
                  </a:lnTo>
                  <a:close/>
                  <a:moveTo>
                    <a:pt x="2268" y="942"/>
                  </a:moveTo>
                  <a:lnTo>
                    <a:pt x="2036" y="942"/>
                  </a:lnTo>
                  <a:lnTo>
                    <a:pt x="2036" y="1269"/>
                  </a:lnTo>
                  <a:lnTo>
                    <a:pt x="2268" y="1269"/>
                  </a:lnTo>
                  <a:lnTo>
                    <a:pt x="2268" y="94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sz="1662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8677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/>
          </p:cNvSpPr>
          <p:nvPr userDrawn="1"/>
        </p:nvSpPr>
        <p:spPr bwMode="gray">
          <a:xfrm>
            <a:off x="-1588" y="0"/>
            <a:ext cx="5245101" cy="3432176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3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rmAutofit/>
          </a:bodyPr>
          <a:lstStyle>
            <a:lvl1pPr>
              <a:defRPr lang="en-US" sz="831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Freeform 6"/>
          <p:cNvSpPr>
            <a:spLocks noChangeAspect="1" noEditPoints="1"/>
          </p:cNvSpPr>
          <p:nvPr userDrawn="1"/>
        </p:nvSpPr>
        <p:spPr bwMode="auto">
          <a:xfrm>
            <a:off x="333377" y="401626"/>
            <a:ext cx="2088000" cy="765193"/>
          </a:xfrm>
          <a:custGeom>
            <a:avLst/>
            <a:gdLst/>
            <a:ahLst/>
            <a:cxnLst>
              <a:cxn ang="0">
                <a:pos x="2069" y="1367"/>
              </a:cxn>
              <a:cxn ang="0">
                <a:pos x="915" y="1385"/>
              </a:cxn>
              <a:cxn ang="0">
                <a:pos x="3181" y="1302"/>
              </a:cxn>
              <a:cxn ang="0">
                <a:pos x="3212" y="1345"/>
              </a:cxn>
              <a:cxn ang="0">
                <a:pos x="2655" y="1407"/>
              </a:cxn>
              <a:cxn ang="0">
                <a:pos x="1633" y="1340"/>
              </a:cxn>
              <a:cxn ang="0">
                <a:pos x="1676" y="1301"/>
              </a:cxn>
              <a:cxn ang="0">
                <a:pos x="4007" y="1435"/>
              </a:cxn>
              <a:cxn ang="0">
                <a:pos x="1796" y="1274"/>
              </a:cxn>
              <a:cxn ang="0">
                <a:pos x="1920" y="1417"/>
              </a:cxn>
              <a:cxn ang="0">
                <a:pos x="1772" y="1383"/>
              </a:cxn>
              <a:cxn ang="0">
                <a:pos x="340" y="1274"/>
              </a:cxn>
              <a:cxn ang="0">
                <a:pos x="172" y="1427"/>
              </a:cxn>
              <a:cxn ang="0">
                <a:pos x="2094" y="1274"/>
              </a:cxn>
              <a:cxn ang="0">
                <a:pos x="1946" y="1466"/>
              </a:cxn>
              <a:cxn ang="0">
                <a:pos x="1994" y="1432"/>
              </a:cxn>
              <a:cxn ang="0">
                <a:pos x="1541" y="1282"/>
              </a:cxn>
              <a:cxn ang="0">
                <a:pos x="955" y="1272"/>
              </a:cxn>
              <a:cxn ang="0">
                <a:pos x="905" y="1502"/>
              </a:cxn>
              <a:cxn ang="0">
                <a:pos x="963" y="1437"/>
              </a:cxn>
              <a:cxn ang="0">
                <a:pos x="955" y="1272"/>
              </a:cxn>
              <a:cxn ang="0">
                <a:pos x="3192" y="1436"/>
              </a:cxn>
              <a:cxn ang="0">
                <a:pos x="2937" y="1276"/>
              </a:cxn>
              <a:cxn ang="0">
                <a:pos x="3057" y="1345"/>
              </a:cxn>
              <a:cxn ang="0">
                <a:pos x="2906" y="1325"/>
              </a:cxn>
              <a:cxn ang="0">
                <a:pos x="2868" y="1282"/>
              </a:cxn>
              <a:cxn ang="0">
                <a:pos x="2659" y="1443"/>
              </a:cxn>
              <a:cxn ang="0">
                <a:pos x="2538" y="1271"/>
              </a:cxn>
              <a:cxn ang="0">
                <a:pos x="2481" y="1353"/>
              </a:cxn>
              <a:cxn ang="0">
                <a:pos x="2523" y="1435"/>
              </a:cxn>
              <a:cxn ang="0">
                <a:pos x="1683" y="1270"/>
              </a:cxn>
              <a:cxn ang="0">
                <a:pos x="1596" y="1427"/>
              </a:cxn>
              <a:cxn ang="0">
                <a:pos x="143" y="1288"/>
              </a:cxn>
              <a:cxn ang="0">
                <a:pos x="51" y="1395"/>
              </a:cxn>
              <a:cxn ang="0">
                <a:pos x="31" y="1437"/>
              </a:cxn>
              <a:cxn ang="0">
                <a:pos x="838" y="1287"/>
              </a:cxn>
              <a:cxn ang="0">
                <a:pos x="745" y="1316"/>
              </a:cxn>
              <a:cxn ang="0">
                <a:pos x="3478" y="1269"/>
              </a:cxn>
              <a:cxn ang="0">
                <a:pos x="3460" y="1400"/>
              </a:cxn>
              <a:cxn ang="0">
                <a:pos x="3370" y="1342"/>
              </a:cxn>
              <a:cxn ang="0">
                <a:pos x="3885" y="1405"/>
              </a:cxn>
              <a:cxn ang="0">
                <a:pos x="3842" y="1242"/>
              </a:cxn>
              <a:cxn ang="0">
                <a:pos x="1210" y="1440"/>
              </a:cxn>
              <a:cxn ang="0">
                <a:pos x="510" y="1242"/>
              </a:cxn>
              <a:cxn ang="0">
                <a:pos x="516" y="1440"/>
              </a:cxn>
              <a:cxn ang="0">
                <a:pos x="449" y="1403"/>
              </a:cxn>
              <a:cxn ang="0">
                <a:pos x="3750" y="1202"/>
              </a:cxn>
              <a:cxn ang="0">
                <a:pos x="2287" y="1274"/>
              </a:cxn>
              <a:cxn ang="0">
                <a:pos x="2221" y="1313"/>
              </a:cxn>
              <a:cxn ang="0">
                <a:pos x="1439" y="1303"/>
              </a:cxn>
              <a:cxn ang="0">
                <a:pos x="1264" y="1437"/>
              </a:cxn>
              <a:cxn ang="0">
                <a:pos x="2138" y="764"/>
              </a:cxn>
              <a:cxn ang="0">
                <a:pos x="839" y="665"/>
              </a:cxn>
              <a:cxn ang="0">
                <a:pos x="1985" y="438"/>
              </a:cxn>
              <a:cxn ang="0">
                <a:pos x="2171" y="572"/>
              </a:cxn>
              <a:cxn ang="0">
                <a:pos x="1908" y="728"/>
              </a:cxn>
              <a:cxn ang="0">
                <a:pos x="1767" y="668"/>
              </a:cxn>
              <a:cxn ang="0">
                <a:pos x="1024" y="543"/>
              </a:cxn>
              <a:cxn ang="0">
                <a:pos x="412" y="446"/>
              </a:cxn>
              <a:cxn ang="0">
                <a:pos x="1305" y="0"/>
              </a:cxn>
              <a:cxn ang="0">
                <a:pos x="1851" y="955"/>
              </a:cxn>
              <a:cxn ang="0">
                <a:pos x="1098" y="968"/>
              </a:cxn>
            </a:cxnLst>
            <a:rect l="0" t="0" r="r" b="b"/>
            <a:pathLst>
              <a:path w="4103" h="1502">
                <a:moveTo>
                  <a:pt x="2051" y="1305"/>
                </a:moveTo>
                <a:lnTo>
                  <a:pt x="2041" y="1306"/>
                </a:lnTo>
                <a:lnTo>
                  <a:pt x="2030" y="1312"/>
                </a:lnTo>
                <a:lnTo>
                  <a:pt x="2021" y="1321"/>
                </a:lnTo>
                <a:lnTo>
                  <a:pt x="2013" y="1335"/>
                </a:lnTo>
                <a:lnTo>
                  <a:pt x="2007" y="1353"/>
                </a:lnTo>
                <a:lnTo>
                  <a:pt x="2006" y="1358"/>
                </a:lnTo>
                <a:lnTo>
                  <a:pt x="2006" y="1366"/>
                </a:lnTo>
                <a:lnTo>
                  <a:pt x="2005" y="1375"/>
                </a:lnTo>
                <a:lnTo>
                  <a:pt x="2007" y="1385"/>
                </a:lnTo>
                <a:lnTo>
                  <a:pt x="2011" y="1393"/>
                </a:lnTo>
                <a:lnTo>
                  <a:pt x="2018" y="1398"/>
                </a:lnTo>
                <a:lnTo>
                  <a:pt x="2030" y="1401"/>
                </a:lnTo>
                <a:lnTo>
                  <a:pt x="2042" y="1398"/>
                </a:lnTo>
                <a:lnTo>
                  <a:pt x="2053" y="1393"/>
                </a:lnTo>
                <a:lnTo>
                  <a:pt x="2061" y="1385"/>
                </a:lnTo>
                <a:lnTo>
                  <a:pt x="2066" y="1376"/>
                </a:lnTo>
                <a:lnTo>
                  <a:pt x="2069" y="1367"/>
                </a:lnTo>
                <a:lnTo>
                  <a:pt x="2072" y="1360"/>
                </a:lnTo>
                <a:lnTo>
                  <a:pt x="2073" y="1355"/>
                </a:lnTo>
                <a:lnTo>
                  <a:pt x="2076" y="1337"/>
                </a:lnTo>
                <a:lnTo>
                  <a:pt x="2076" y="1327"/>
                </a:lnTo>
                <a:lnTo>
                  <a:pt x="2073" y="1318"/>
                </a:lnTo>
                <a:lnTo>
                  <a:pt x="2069" y="1311"/>
                </a:lnTo>
                <a:lnTo>
                  <a:pt x="2062" y="1306"/>
                </a:lnTo>
                <a:lnTo>
                  <a:pt x="2051" y="1305"/>
                </a:lnTo>
                <a:close/>
                <a:moveTo>
                  <a:pt x="959" y="1305"/>
                </a:moveTo>
                <a:lnTo>
                  <a:pt x="949" y="1306"/>
                </a:lnTo>
                <a:lnTo>
                  <a:pt x="938" y="1312"/>
                </a:lnTo>
                <a:lnTo>
                  <a:pt x="929" y="1321"/>
                </a:lnTo>
                <a:lnTo>
                  <a:pt x="922" y="1335"/>
                </a:lnTo>
                <a:lnTo>
                  <a:pt x="915" y="1353"/>
                </a:lnTo>
                <a:lnTo>
                  <a:pt x="914" y="1358"/>
                </a:lnTo>
                <a:lnTo>
                  <a:pt x="914" y="1366"/>
                </a:lnTo>
                <a:lnTo>
                  <a:pt x="913" y="1375"/>
                </a:lnTo>
                <a:lnTo>
                  <a:pt x="915" y="1385"/>
                </a:lnTo>
                <a:lnTo>
                  <a:pt x="919" y="1393"/>
                </a:lnTo>
                <a:lnTo>
                  <a:pt x="927" y="1398"/>
                </a:lnTo>
                <a:lnTo>
                  <a:pt x="938" y="1401"/>
                </a:lnTo>
                <a:lnTo>
                  <a:pt x="950" y="1398"/>
                </a:lnTo>
                <a:lnTo>
                  <a:pt x="961" y="1393"/>
                </a:lnTo>
                <a:lnTo>
                  <a:pt x="969" y="1385"/>
                </a:lnTo>
                <a:lnTo>
                  <a:pt x="974" y="1376"/>
                </a:lnTo>
                <a:lnTo>
                  <a:pt x="977" y="1367"/>
                </a:lnTo>
                <a:lnTo>
                  <a:pt x="980" y="1360"/>
                </a:lnTo>
                <a:lnTo>
                  <a:pt x="981" y="1355"/>
                </a:lnTo>
                <a:lnTo>
                  <a:pt x="984" y="1337"/>
                </a:lnTo>
                <a:lnTo>
                  <a:pt x="984" y="1327"/>
                </a:lnTo>
                <a:lnTo>
                  <a:pt x="981" y="1318"/>
                </a:lnTo>
                <a:lnTo>
                  <a:pt x="977" y="1311"/>
                </a:lnTo>
                <a:lnTo>
                  <a:pt x="970" y="1306"/>
                </a:lnTo>
                <a:lnTo>
                  <a:pt x="959" y="1305"/>
                </a:lnTo>
                <a:close/>
                <a:moveTo>
                  <a:pt x="3190" y="1301"/>
                </a:moveTo>
                <a:lnTo>
                  <a:pt x="3181" y="1302"/>
                </a:lnTo>
                <a:lnTo>
                  <a:pt x="3173" y="1306"/>
                </a:lnTo>
                <a:lnTo>
                  <a:pt x="3163" y="1312"/>
                </a:lnTo>
                <a:lnTo>
                  <a:pt x="3154" y="1322"/>
                </a:lnTo>
                <a:lnTo>
                  <a:pt x="3146" y="1337"/>
                </a:lnTo>
                <a:lnTo>
                  <a:pt x="3140" y="1357"/>
                </a:lnTo>
                <a:lnTo>
                  <a:pt x="3139" y="1362"/>
                </a:lnTo>
                <a:lnTo>
                  <a:pt x="3138" y="1368"/>
                </a:lnTo>
                <a:lnTo>
                  <a:pt x="3138" y="1386"/>
                </a:lnTo>
                <a:lnTo>
                  <a:pt x="3140" y="1395"/>
                </a:lnTo>
                <a:lnTo>
                  <a:pt x="3145" y="1402"/>
                </a:lnTo>
                <a:lnTo>
                  <a:pt x="3154" y="1407"/>
                </a:lnTo>
                <a:lnTo>
                  <a:pt x="3165" y="1408"/>
                </a:lnTo>
                <a:lnTo>
                  <a:pt x="3177" y="1406"/>
                </a:lnTo>
                <a:lnTo>
                  <a:pt x="3189" y="1398"/>
                </a:lnTo>
                <a:lnTo>
                  <a:pt x="3199" y="1387"/>
                </a:lnTo>
                <a:lnTo>
                  <a:pt x="3206" y="1372"/>
                </a:lnTo>
                <a:lnTo>
                  <a:pt x="3211" y="1353"/>
                </a:lnTo>
                <a:lnTo>
                  <a:pt x="3212" y="1345"/>
                </a:lnTo>
                <a:lnTo>
                  <a:pt x="3214" y="1335"/>
                </a:lnTo>
                <a:lnTo>
                  <a:pt x="3212" y="1325"/>
                </a:lnTo>
                <a:lnTo>
                  <a:pt x="3211" y="1316"/>
                </a:lnTo>
                <a:lnTo>
                  <a:pt x="3207" y="1308"/>
                </a:lnTo>
                <a:lnTo>
                  <a:pt x="3200" y="1303"/>
                </a:lnTo>
                <a:lnTo>
                  <a:pt x="3190" y="1301"/>
                </a:lnTo>
                <a:close/>
                <a:moveTo>
                  <a:pt x="2690" y="1301"/>
                </a:moveTo>
                <a:lnTo>
                  <a:pt x="2676" y="1303"/>
                </a:lnTo>
                <a:lnTo>
                  <a:pt x="2666" y="1310"/>
                </a:lnTo>
                <a:lnTo>
                  <a:pt x="2658" y="1318"/>
                </a:lnTo>
                <a:lnTo>
                  <a:pt x="2653" y="1328"/>
                </a:lnTo>
                <a:lnTo>
                  <a:pt x="2648" y="1340"/>
                </a:lnTo>
                <a:lnTo>
                  <a:pt x="2645" y="1350"/>
                </a:lnTo>
                <a:lnTo>
                  <a:pt x="2644" y="1357"/>
                </a:lnTo>
                <a:lnTo>
                  <a:pt x="2640" y="1377"/>
                </a:lnTo>
                <a:lnTo>
                  <a:pt x="2641" y="1391"/>
                </a:lnTo>
                <a:lnTo>
                  <a:pt x="2646" y="1402"/>
                </a:lnTo>
                <a:lnTo>
                  <a:pt x="2655" y="1407"/>
                </a:lnTo>
                <a:lnTo>
                  <a:pt x="2668" y="1410"/>
                </a:lnTo>
                <a:lnTo>
                  <a:pt x="2680" y="1408"/>
                </a:lnTo>
                <a:lnTo>
                  <a:pt x="2691" y="1402"/>
                </a:lnTo>
                <a:lnTo>
                  <a:pt x="2700" y="1392"/>
                </a:lnTo>
                <a:lnTo>
                  <a:pt x="2709" y="1376"/>
                </a:lnTo>
                <a:lnTo>
                  <a:pt x="2715" y="1353"/>
                </a:lnTo>
                <a:lnTo>
                  <a:pt x="2717" y="1343"/>
                </a:lnTo>
                <a:lnTo>
                  <a:pt x="2717" y="1323"/>
                </a:lnTo>
                <a:lnTo>
                  <a:pt x="2715" y="1315"/>
                </a:lnTo>
                <a:lnTo>
                  <a:pt x="2710" y="1307"/>
                </a:lnTo>
                <a:lnTo>
                  <a:pt x="2702" y="1302"/>
                </a:lnTo>
                <a:lnTo>
                  <a:pt x="2690" y="1301"/>
                </a:lnTo>
                <a:close/>
                <a:moveTo>
                  <a:pt x="1676" y="1301"/>
                </a:moveTo>
                <a:lnTo>
                  <a:pt x="1663" y="1303"/>
                </a:lnTo>
                <a:lnTo>
                  <a:pt x="1652" y="1310"/>
                </a:lnTo>
                <a:lnTo>
                  <a:pt x="1643" y="1318"/>
                </a:lnTo>
                <a:lnTo>
                  <a:pt x="1638" y="1328"/>
                </a:lnTo>
                <a:lnTo>
                  <a:pt x="1633" y="1340"/>
                </a:lnTo>
                <a:lnTo>
                  <a:pt x="1630" y="1350"/>
                </a:lnTo>
                <a:lnTo>
                  <a:pt x="1629" y="1357"/>
                </a:lnTo>
                <a:lnTo>
                  <a:pt x="1627" y="1377"/>
                </a:lnTo>
                <a:lnTo>
                  <a:pt x="1628" y="1391"/>
                </a:lnTo>
                <a:lnTo>
                  <a:pt x="1633" y="1402"/>
                </a:lnTo>
                <a:lnTo>
                  <a:pt x="1642" y="1407"/>
                </a:lnTo>
                <a:lnTo>
                  <a:pt x="1654" y="1410"/>
                </a:lnTo>
                <a:lnTo>
                  <a:pt x="1665" y="1408"/>
                </a:lnTo>
                <a:lnTo>
                  <a:pt x="1676" y="1402"/>
                </a:lnTo>
                <a:lnTo>
                  <a:pt x="1686" y="1392"/>
                </a:lnTo>
                <a:lnTo>
                  <a:pt x="1695" y="1376"/>
                </a:lnTo>
                <a:lnTo>
                  <a:pt x="1701" y="1353"/>
                </a:lnTo>
                <a:lnTo>
                  <a:pt x="1704" y="1333"/>
                </a:lnTo>
                <a:lnTo>
                  <a:pt x="1703" y="1323"/>
                </a:lnTo>
                <a:lnTo>
                  <a:pt x="1700" y="1315"/>
                </a:lnTo>
                <a:lnTo>
                  <a:pt x="1695" y="1307"/>
                </a:lnTo>
                <a:lnTo>
                  <a:pt x="1688" y="1302"/>
                </a:lnTo>
                <a:lnTo>
                  <a:pt x="1676" y="1301"/>
                </a:lnTo>
                <a:close/>
                <a:moveTo>
                  <a:pt x="3455" y="1300"/>
                </a:moveTo>
                <a:lnTo>
                  <a:pt x="3441" y="1302"/>
                </a:lnTo>
                <a:lnTo>
                  <a:pt x="3431" y="1311"/>
                </a:lnTo>
                <a:lnTo>
                  <a:pt x="3422" y="1323"/>
                </a:lnTo>
                <a:lnTo>
                  <a:pt x="3418" y="1337"/>
                </a:lnTo>
                <a:lnTo>
                  <a:pt x="3476" y="1337"/>
                </a:lnTo>
                <a:lnTo>
                  <a:pt x="3477" y="1332"/>
                </a:lnTo>
                <a:lnTo>
                  <a:pt x="3477" y="1320"/>
                </a:lnTo>
                <a:lnTo>
                  <a:pt x="3476" y="1312"/>
                </a:lnTo>
                <a:lnTo>
                  <a:pt x="3472" y="1306"/>
                </a:lnTo>
                <a:lnTo>
                  <a:pt x="3465" y="1301"/>
                </a:lnTo>
                <a:lnTo>
                  <a:pt x="3455" y="1300"/>
                </a:lnTo>
                <a:close/>
                <a:moveTo>
                  <a:pt x="3931" y="1274"/>
                </a:moveTo>
                <a:lnTo>
                  <a:pt x="3983" y="1274"/>
                </a:lnTo>
                <a:lnTo>
                  <a:pt x="3996" y="1387"/>
                </a:lnTo>
                <a:lnTo>
                  <a:pt x="4055" y="1274"/>
                </a:lnTo>
                <a:lnTo>
                  <a:pt x="4103" y="1274"/>
                </a:lnTo>
                <a:lnTo>
                  <a:pt x="4007" y="1435"/>
                </a:lnTo>
                <a:lnTo>
                  <a:pt x="3973" y="1500"/>
                </a:lnTo>
                <a:lnTo>
                  <a:pt x="3926" y="1500"/>
                </a:lnTo>
                <a:lnTo>
                  <a:pt x="3960" y="1438"/>
                </a:lnTo>
                <a:lnTo>
                  <a:pt x="3931" y="1274"/>
                </a:lnTo>
                <a:close/>
                <a:moveTo>
                  <a:pt x="3544" y="1274"/>
                </a:moveTo>
                <a:lnTo>
                  <a:pt x="3602" y="1274"/>
                </a:lnTo>
                <a:lnTo>
                  <a:pt x="3620" y="1327"/>
                </a:lnTo>
                <a:lnTo>
                  <a:pt x="3664" y="1274"/>
                </a:lnTo>
                <a:lnTo>
                  <a:pt x="3713" y="1274"/>
                </a:lnTo>
                <a:lnTo>
                  <a:pt x="3644" y="1353"/>
                </a:lnTo>
                <a:lnTo>
                  <a:pt x="3681" y="1437"/>
                </a:lnTo>
                <a:lnTo>
                  <a:pt x="3624" y="1437"/>
                </a:lnTo>
                <a:lnTo>
                  <a:pt x="3604" y="1377"/>
                </a:lnTo>
                <a:lnTo>
                  <a:pt x="3558" y="1437"/>
                </a:lnTo>
                <a:lnTo>
                  <a:pt x="3508" y="1437"/>
                </a:lnTo>
                <a:lnTo>
                  <a:pt x="3582" y="1350"/>
                </a:lnTo>
                <a:lnTo>
                  <a:pt x="3544" y="1274"/>
                </a:lnTo>
                <a:close/>
                <a:moveTo>
                  <a:pt x="1796" y="1274"/>
                </a:moveTo>
                <a:lnTo>
                  <a:pt x="1844" y="1274"/>
                </a:lnTo>
                <a:lnTo>
                  <a:pt x="1823" y="1371"/>
                </a:lnTo>
                <a:lnTo>
                  <a:pt x="1821" y="1386"/>
                </a:lnTo>
                <a:lnTo>
                  <a:pt x="1822" y="1395"/>
                </a:lnTo>
                <a:lnTo>
                  <a:pt x="1824" y="1401"/>
                </a:lnTo>
                <a:lnTo>
                  <a:pt x="1831" y="1406"/>
                </a:lnTo>
                <a:lnTo>
                  <a:pt x="1842" y="1407"/>
                </a:lnTo>
                <a:lnTo>
                  <a:pt x="1856" y="1405"/>
                </a:lnTo>
                <a:lnTo>
                  <a:pt x="1865" y="1400"/>
                </a:lnTo>
                <a:lnTo>
                  <a:pt x="1872" y="1392"/>
                </a:lnTo>
                <a:lnTo>
                  <a:pt x="1877" y="1381"/>
                </a:lnTo>
                <a:lnTo>
                  <a:pt x="1880" y="1370"/>
                </a:lnTo>
                <a:lnTo>
                  <a:pt x="1883" y="1356"/>
                </a:lnTo>
                <a:lnTo>
                  <a:pt x="1900" y="1274"/>
                </a:lnTo>
                <a:lnTo>
                  <a:pt x="1950" y="1274"/>
                </a:lnTo>
                <a:lnTo>
                  <a:pt x="1928" y="1381"/>
                </a:lnTo>
                <a:lnTo>
                  <a:pt x="1924" y="1398"/>
                </a:lnTo>
                <a:lnTo>
                  <a:pt x="1920" y="1417"/>
                </a:lnTo>
                <a:lnTo>
                  <a:pt x="1920" y="1422"/>
                </a:lnTo>
                <a:lnTo>
                  <a:pt x="1919" y="1425"/>
                </a:lnTo>
                <a:lnTo>
                  <a:pt x="1918" y="1428"/>
                </a:lnTo>
                <a:lnTo>
                  <a:pt x="1918" y="1437"/>
                </a:lnTo>
                <a:lnTo>
                  <a:pt x="1870" y="1437"/>
                </a:lnTo>
                <a:lnTo>
                  <a:pt x="1874" y="1416"/>
                </a:lnTo>
                <a:lnTo>
                  <a:pt x="1869" y="1421"/>
                </a:lnTo>
                <a:lnTo>
                  <a:pt x="1862" y="1427"/>
                </a:lnTo>
                <a:lnTo>
                  <a:pt x="1851" y="1433"/>
                </a:lnTo>
                <a:lnTo>
                  <a:pt x="1837" y="1438"/>
                </a:lnTo>
                <a:lnTo>
                  <a:pt x="1821" y="1441"/>
                </a:lnTo>
                <a:lnTo>
                  <a:pt x="1805" y="1440"/>
                </a:lnTo>
                <a:lnTo>
                  <a:pt x="1792" y="1435"/>
                </a:lnTo>
                <a:lnTo>
                  <a:pt x="1782" y="1427"/>
                </a:lnTo>
                <a:lnTo>
                  <a:pt x="1776" y="1420"/>
                </a:lnTo>
                <a:lnTo>
                  <a:pt x="1772" y="1408"/>
                </a:lnTo>
                <a:lnTo>
                  <a:pt x="1771" y="1396"/>
                </a:lnTo>
                <a:lnTo>
                  <a:pt x="1772" y="1383"/>
                </a:lnTo>
                <a:lnTo>
                  <a:pt x="1775" y="1375"/>
                </a:lnTo>
                <a:lnTo>
                  <a:pt x="1796" y="1274"/>
                </a:lnTo>
                <a:close/>
                <a:moveTo>
                  <a:pt x="185" y="1274"/>
                </a:moveTo>
                <a:lnTo>
                  <a:pt x="234" y="1274"/>
                </a:lnTo>
                <a:lnTo>
                  <a:pt x="214" y="1371"/>
                </a:lnTo>
                <a:lnTo>
                  <a:pt x="211" y="1386"/>
                </a:lnTo>
                <a:lnTo>
                  <a:pt x="211" y="1395"/>
                </a:lnTo>
                <a:lnTo>
                  <a:pt x="215" y="1401"/>
                </a:lnTo>
                <a:lnTo>
                  <a:pt x="221" y="1406"/>
                </a:lnTo>
                <a:lnTo>
                  <a:pt x="231" y="1407"/>
                </a:lnTo>
                <a:lnTo>
                  <a:pt x="245" y="1405"/>
                </a:lnTo>
                <a:lnTo>
                  <a:pt x="255" y="1400"/>
                </a:lnTo>
                <a:lnTo>
                  <a:pt x="261" y="1392"/>
                </a:lnTo>
                <a:lnTo>
                  <a:pt x="267" y="1381"/>
                </a:lnTo>
                <a:lnTo>
                  <a:pt x="270" y="1370"/>
                </a:lnTo>
                <a:lnTo>
                  <a:pt x="274" y="1356"/>
                </a:lnTo>
                <a:lnTo>
                  <a:pt x="291" y="1274"/>
                </a:lnTo>
                <a:lnTo>
                  <a:pt x="340" y="1274"/>
                </a:lnTo>
                <a:lnTo>
                  <a:pt x="317" y="1381"/>
                </a:lnTo>
                <a:lnTo>
                  <a:pt x="313" y="1398"/>
                </a:lnTo>
                <a:lnTo>
                  <a:pt x="310" y="1417"/>
                </a:lnTo>
                <a:lnTo>
                  <a:pt x="310" y="1422"/>
                </a:lnTo>
                <a:lnTo>
                  <a:pt x="308" y="1425"/>
                </a:lnTo>
                <a:lnTo>
                  <a:pt x="308" y="1428"/>
                </a:lnTo>
                <a:lnTo>
                  <a:pt x="307" y="1431"/>
                </a:lnTo>
                <a:lnTo>
                  <a:pt x="307" y="1437"/>
                </a:lnTo>
                <a:lnTo>
                  <a:pt x="261" y="1437"/>
                </a:lnTo>
                <a:lnTo>
                  <a:pt x="264" y="1416"/>
                </a:lnTo>
                <a:lnTo>
                  <a:pt x="259" y="1421"/>
                </a:lnTo>
                <a:lnTo>
                  <a:pt x="251" y="1427"/>
                </a:lnTo>
                <a:lnTo>
                  <a:pt x="240" y="1433"/>
                </a:lnTo>
                <a:lnTo>
                  <a:pt x="228" y="1438"/>
                </a:lnTo>
                <a:lnTo>
                  <a:pt x="210" y="1441"/>
                </a:lnTo>
                <a:lnTo>
                  <a:pt x="194" y="1440"/>
                </a:lnTo>
                <a:lnTo>
                  <a:pt x="182" y="1435"/>
                </a:lnTo>
                <a:lnTo>
                  <a:pt x="172" y="1427"/>
                </a:lnTo>
                <a:lnTo>
                  <a:pt x="165" y="1420"/>
                </a:lnTo>
                <a:lnTo>
                  <a:pt x="162" y="1408"/>
                </a:lnTo>
                <a:lnTo>
                  <a:pt x="162" y="1396"/>
                </a:lnTo>
                <a:lnTo>
                  <a:pt x="163" y="1383"/>
                </a:lnTo>
                <a:lnTo>
                  <a:pt x="164" y="1375"/>
                </a:lnTo>
                <a:lnTo>
                  <a:pt x="185" y="1274"/>
                </a:lnTo>
                <a:close/>
                <a:moveTo>
                  <a:pt x="3736" y="1272"/>
                </a:moveTo>
                <a:lnTo>
                  <a:pt x="3784" y="1272"/>
                </a:lnTo>
                <a:lnTo>
                  <a:pt x="3750" y="1437"/>
                </a:lnTo>
                <a:lnTo>
                  <a:pt x="3701" y="1437"/>
                </a:lnTo>
                <a:lnTo>
                  <a:pt x="3736" y="1272"/>
                </a:lnTo>
                <a:close/>
                <a:moveTo>
                  <a:pt x="2047" y="1272"/>
                </a:moveTo>
                <a:lnTo>
                  <a:pt x="2062" y="1274"/>
                </a:lnTo>
                <a:lnTo>
                  <a:pt x="2073" y="1279"/>
                </a:lnTo>
                <a:lnTo>
                  <a:pt x="2081" y="1285"/>
                </a:lnTo>
                <a:lnTo>
                  <a:pt x="2086" y="1291"/>
                </a:lnTo>
                <a:lnTo>
                  <a:pt x="2088" y="1296"/>
                </a:lnTo>
                <a:lnTo>
                  <a:pt x="2094" y="1274"/>
                </a:lnTo>
                <a:lnTo>
                  <a:pt x="2139" y="1274"/>
                </a:lnTo>
                <a:lnTo>
                  <a:pt x="2135" y="1286"/>
                </a:lnTo>
                <a:lnTo>
                  <a:pt x="2132" y="1300"/>
                </a:lnTo>
                <a:lnTo>
                  <a:pt x="2128" y="1315"/>
                </a:lnTo>
                <a:lnTo>
                  <a:pt x="2102" y="1436"/>
                </a:lnTo>
                <a:lnTo>
                  <a:pt x="2096" y="1456"/>
                </a:lnTo>
                <a:lnTo>
                  <a:pt x="2086" y="1472"/>
                </a:lnTo>
                <a:lnTo>
                  <a:pt x="2074" y="1483"/>
                </a:lnTo>
                <a:lnTo>
                  <a:pt x="2062" y="1492"/>
                </a:lnTo>
                <a:lnTo>
                  <a:pt x="2047" y="1497"/>
                </a:lnTo>
                <a:lnTo>
                  <a:pt x="2020" y="1502"/>
                </a:lnTo>
                <a:lnTo>
                  <a:pt x="1997" y="1502"/>
                </a:lnTo>
                <a:lnTo>
                  <a:pt x="1986" y="1501"/>
                </a:lnTo>
                <a:lnTo>
                  <a:pt x="1976" y="1498"/>
                </a:lnTo>
                <a:lnTo>
                  <a:pt x="1965" y="1495"/>
                </a:lnTo>
                <a:lnTo>
                  <a:pt x="1956" y="1487"/>
                </a:lnTo>
                <a:lnTo>
                  <a:pt x="1949" y="1478"/>
                </a:lnTo>
                <a:lnTo>
                  <a:pt x="1946" y="1466"/>
                </a:lnTo>
                <a:lnTo>
                  <a:pt x="1946" y="1450"/>
                </a:lnTo>
                <a:lnTo>
                  <a:pt x="1992" y="1450"/>
                </a:lnTo>
                <a:lnTo>
                  <a:pt x="1992" y="1458"/>
                </a:lnTo>
                <a:lnTo>
                  <a:pt x="1995" y="1462"/>
                </a:lnTo>
                <a:lnTo>
                  <a:pt x="1999" y="1467"/>
                </a:lnTo>
                <a:lnTo>
                  <a:pt x="2006" y="1471"/>
                </a:lnTo>
                <a:lnTo>
                  <a:pt x="2016" y="1472"/>
                </a:lnTo>
                <a:lnTo>
                  <a:pt x="2030" y="1470"/>
                </a:lnTo>
                <a:lnTo>
                  <a:pt x="2041" y="1462"/>
                </a:lnTo>
                <a:lnTo>
                  <a:pt x="2050" y="1451"/>
                </a:lnTo>
                <a:lnTo>
                  <a:pt x="2051" y="1445"/>
                </a:lnTo>
                <a:lnTo>
                  <a:pt x="2054" y="1437"/>
                </a:lnTo>
                <a:lnTo>
                  <a:pt x="2061" y="1412"/>
                </a:lnTo>
                <a:lnTo>
                  <a:pt x="2046" y="1425"/>
                </a:lnTo>
                <a:lnTo>
                  <a:pt x="2033" y="1431"/>
                </a:lnTo>
                <a:lnTo>
                  <a:pt x="2022" y="1433"/>
                </a:lnTo>
                <a:lnTo>
                  <a:pt x="2012" y="1435"/>
                </a:lnTo>
                <a:lnTo>
                  <a:pt x="1994" y="1432"/>
                </a:lnTo>
                <a:lnTo>
                  <a:pt x="1980" y="1426"/>
                </a:lnTo>
                <a:lnTo>
                  <a:pt x="1969" y="1415"/>
                </a:lnTo>
                <a:lnTo>
                  <a:pt x="1962" y="1402"/>
                </a:lnTo>
                <a:lnTo>
                  <a:pt x="1959" y="1387"/>
                </a:lnTo>
                <a:lnTo>
                  <a:pt x="1957" y="1371"/>
                </a:lnTo>
                <a:lnTo>
                  <a:pt x="1960" y="1353"/>
                </a:lnTo>
                <a:lnTo>
                  <a:pt x="1966" y="1333"/>
                </a:lnTo>
                <a:lnTo>
                  <a:pt x="1976" y="1313"/>
                </a:lnTo>
                <a:lnTo>
                  <a:pt x="1989" y="1297"/>
                </a:lnTo>
                <a:lnTo>
                  <a:pt x="2006" y="1285"/>
                </a:lnTo>
                <a:lnTo>
                  <a:pt x="2025" y="1276"/>
                </a:lnTo>
                <a:lnTo>
                  <a:pt x="2047" y="1272"/>
                </a:lnTo>
                <a:close/>
                <a:moveTo>
                  <a:pt x="1481" y="1272"/>
                </a:moveTo>
                <a:lnTo>
                  <a:pt x="1527" y="1272"/>
                </a:lnTo>
                <a:lnTo>
                  <a:pt x="1521" y="1303"/>
                </a:lnTo>
                <a:lnTo>
                  <a:pt x="1526" y="1296"/>
                </a:lnTo>
                <a:lnTo>
                  <a:pt x="1532" y="1288"/>
                </a:lnTo>
                <a:lnTo>
                  <a:pt x="1541" y="1282"/>
                </a:lnTo>
                <a:lnTo>
                  <a:pt x="1552" y="1276"/>
                </a:lnTo>
                <a:lnTo>
                  <a:pt x="1566" y="1272"/>
                </a:lnTo>
                <a:lnTo>
                  <a:pt x="1583" y="1272"/>
                </a:lnTo>
                <a:lnTo>
                  <a:pt x="1574" y="1316"/>
                </a:lnTo>
                <a:lnTo>
                  <a:pt x="1557" y="1316"/>
                </a:lnTo>
                <a:lnTo>
                  <a:pt x="1542" y="1318"/>
                </a:lnTo>
                <a:lnTo>
                  <a:pt x="1532" y="1323"/>
                </a:lnTo>
                <a:lnTo>
                  <a:pt x="1525" y="1330"/>
                </a:lnTo>
                <a:lnTo>
                  <a:pt x="1520" y="1338"/>
                </a:lnTo>
                <a:lnTo>
                  <a:pt x="1516" y="1347"/>
                </a:lnTo>
                <a:lnTo>
                  <a:pt x="1514" y="1356"/>
                </a:lnTo>
                <a:lnTo>
                  <a:pt x="1497" y="1437"/>
                </a:lnTo>
                <a:lnTo>
                  <a:pt x="1449" y="1437"/>
                </a:lnTo>
                <a:lnTo>
                  <a:pt x="1475" y="1313"/>
                </a:lnTo>
                <a:lnTo>
                  <a:pt x="1477" y="1305"/>
                </a:lnTo>
                <a:lnTo>
                  <a:pt x="1480" y="1282"/>
                </a:lnTo>
                <a:lnTo>
                  <a:pt x="1481" y="1272"/>
                </a:lnTo>
                <a:close/>
                <a:moveTo>
                  <a:pt x="955" y="1272"/>
                </a:moveTo>
                <a:lnTo>
                  <a:pt x="970" y="1274"/>
                </a:lnTo>
                <a:lnTo>
                  <a:pt x="981" y="1279"/>
                </a:lnTo>
                <a:lnTo>
                  <a:pt x="989" y="1285"/>
                </a:lnTo>
                <a:lnTo>
                  <a:pt x="994" y="1291"/>
                </a:lnTo>
                <a:lnTo>
                  <a:pt x="996" y="1296"/>
                </a:lnTo>
                <a:lnTo>
                  <a:pt x="1002" y="1274"/>
                </a:lnTo>
                <a:lnTo>
                  <a:pt x="1047" y="1274"/>
                </a:lnTo>
                <a:lnTo>
                  <a:pt x="1043" y="1286"/>
                </a:lnTo>
                <a:lnTo>
                  <a:pt x="1040" y="1300"/>
                </a:lnTo>
                <a:lnTo>
                  <a:pt x="1036" y="1315"/>
                </a:lnTo>
                <a:lnTo>
                  <a:pt x="1010" y="1436"/>
                </a:lnTo>
                <a:lnTo>
                  <a:pt x="1004" y="1456"/>
                </a:lnTo>
                <a:lnTo>
                  <a:pt x="994" y="1472"/>
                </a:lnTo>
                <a:lnTo>
                  <a:pt x="982" y="1483"/>
                </a:lnTo>
                <a:lnTo>
                  <a:pt x="970" y="1492"/>
                </a:lnTo>
                <a:lnTo>
                  <a:pt x="955" y="1497"/>
                </a:lnTo>
                <a:lnTo>
                  <a:pt x="928" y="1502"/>
                </a:lnTo>
                <a:lnTo>
                  <a:pt x="905" y="1502"/>
                </a:lnTo>
                <a:lnTo>
                  <a:pt x="894" y="1501"/>
                </a:lnTo>
                <a:lnTo>
                  <a:pt x="884" y="1498"/>
                </a:lnTo>
                <a:lnTo>
                  <a:pt x="873" y="1495"/>
                </a:lnTo>
                <a:lnTo>
                  <a:pt x="864" y="1487"/>
                </a:lnTo>
                <a:lnTo>
                  <a:pt x="857" y="1478"/>
                </a:lnTo>
                <a:lnTo>
                  <a:pt x="854" y="1466"/>
                </a:lnTo>
                <a:lnTo>
                  <a:pt x="854" y="1450"/>
                </a:lnTo>
                <a:lnTo>
                  <a:pt x="900" y="1450"/>
                </a:lnTo>
                <a:lnTo>
                  <a:pt x="900" y="1458"/>
                </a:lnTo>
                <a:lnTo>
                  <a:pt x="903" y="1462"/>
                </a:lnTo>
                <a:lnTo>
                  <a:pt x="907" y="1467"/>
                </a:lnTo>
                <a:lnTo>
                  <a:pt x="913" y="1471"/>
                </a:lnTo>
                <a:lnTo>
                  <a:pt x="924" y="1472"/>
                </a:lnTo>
                <a:lnTo>
                  <a:pt x="938" y="1470"/>
                </a:lnTo>
                <a:lnTo>
                  <a:pt x="949" y="1462"/>
                </a:lnTo>
                <a:lnTo>
                  <a:pt x="958" y="1451"/>
                </a:lnTo>
                <a:lnTo>
                  <a:pt x="960" y="1445"/>
                </a:lnTo>
                <a:lnTo>
                  <a:pt x="963" y="1437"/>
                </a:lnTo>
                <a:lnTo>
                  <a:pt x="969" y="1412"/>
                </a:lnTo>
                <a:lnTo>
                  <a:pt x="954" y="1425"/>
                </a:lnTo>
                <a:lnTo>
                  <a:pt x="941" y="1431"/>
                </a:lnTo>
                <a:lnTo>
                  <a:pt x="930" y="1433"/>
                </a:lnTo>
                <a:lnTo>
                  <a:pt x="920" y="1435"/>
                </a:lnTo>
                <a:lnTo>
                  <a:pt x="902" y="1432"/>
                </a:lnTo>
                <a:lnTo>
                  <a:pt x="888" y="1426"/>
                </a:lnTo>
                <a:lnTo>
                  <a:pt x="877" y="1415"/>
                </a:lnTo>
                <a:lnTo>
                  <a:pt x="871" y="1402"/>
                </a:lnTo>
                <a:lnTo>
                  <a:pt x="867" y="1387"/>
                </a:lnTo>
                <a:lnTo>
                  <a:pt x="866" y="1371"/>
                </a:lnTo>
                <a:lnTo>
                  <a:pt x="868" y="1353"/>
                </a:lnTo>
                <a:lnTo>
                  <a:pt x="874" y="1333"/>
                </a:lnTo>
                <a:lnTo>
                  <a:pt x="884" y="1313"/>
                </a:lnTo>
                <a:lnTo>
                  <a:pt x="897" y="1297"/>
                </a:lnTo>
                <a:lnTo>
                  <a:pt x="914" y="1285"/>
                </a:lnTo>
                <a:lnTo>
                  <a:pt x="933" y="1276"/>
                </a:lnTo>
                <a:lnTo>
                  <a:pt x="955" y="1272"/>
                </a:lnTo>
                <a:close/>
                <a:moveTo>
                  <a:pt x="614" y="1272"/>
                </a:moveTo>
                <a:lnTo>
                  <a:pt x="663" y="1272"/>
                </a:lnTo>
                <a:lnTo>
                  <a:pt x="627" y="1437"/>
                </a:lnTo>
                <a:lnTo>
                  <a:pt x="580" y="1437"/>
                </a:lnTo>
                <a:lnTo>
                  <a:pt x="614" y="1272"/>
                </a:lnTo>
                <a:close/>
                <a:moveTo>
                  <a:pt x="3202" y="1270"/>
                </a:moveTo>
                <a:lnTo>
                  <a:pt x="3209" y="1270"/>
                </a:lnTo>
                <a:lnTo>
                  <a:pt x="3228" y="1272"/>
                </a:lnTo>
                <a:lnTo>
                  <a:pt x="3243" y="1280"/>
                </a:lnTo>
                <a:lnTo>
                  <a:pt x="3255" y="1292"/>
                </a:lnTo>
                <a:lnTo>
                  <a:pt x="3261" y="1308"/>
                </a:lnTo>
                <a:lnTo>
                  <a:pt x="3263" y="1328"/>
                </a:lnTo>
                <a:lnTo>
                  <a:pt x="3260" y="1352"/>
                </a:lnTo>
                <a:lnTo>
                  <a:pt x="3253" y="1375"/>
                </a:lnTo>
                <a:lnTo>
                  <a:pt x="3243" y="1396"/>
                </a:lnTo>
                <a:lnTo>
                  <a:pt x="3230" y="1413"/>
                </a:lnTo>
                <a:lnTo>
                  <a:pt x="3212" y="1427"/>
                </a:lnTo>
                <a:lnTo>
                  <a:pt x="3192" y="1436"/>
                </a:lnTo>
                <a:lnTo>
                  <a:pt x="3170" y="1440"/>
                </a:lnTo>
                <a:lnTo>
                  <a:pt x="3155" y="1438"/>
                </a:lnTo>
                <a:lnTo>
                  <a:pt x="3144" y="1433"/>
                </a:lnTo>
                <a:lnTo>
                  <a:pt x="3136" y="1428"/>
                </a:lnTo>
                <a:lnTo>
                  <a:pt x="3131" y="1422"/>
                </a:lnTo>
                <a:lnTo>
                  <a:pt x="3129" y="1418"/>
                </a:lnTo>
                <a:lnTo>
                  <a:pt x="3112" y="1500"/>
                </a:lnTo>
                <a:lnTo>
                  <a:pt x="3063" y="1500"/>
                </a:lnTo>
                <a:lnTo>
                  <a:pt x="3110" y="1274"/>
                </a:lnTo>
                <a:lnTo>
                  <a:pt x="3158" y="1274"/>
                </a:lnTo>
                <a:lnTo>
                  <a:pt x="3154" y="1296"/>
                </a:lnTo>
                <a:lnTo>
                  <a:pt x="3168" y="1284"/>
                </a:lnTo>
                <a:lnTo>
                  <a:pt x="3180" y="1276"/>
                </a:lnTo>
                <a:lnTo>
                  <a:pt x="3192" y="1271"/>
                </a:lnTo>
                <a:lnTo>
                  <a:pt x="3202" y="1270"/>
                </a:lnTo>
                <a:close/>
                <a:moveTo>
                  <a:pt x="2910" y="1270"/>
                </a:moveTo>
                <a:lnTo>
                  <a:pt x="2926" y="1271"/>
                </a:lnTo>
                <a:lnTo>
                  <a:pt x="2937" y="1276"/>
                </a:lnTo>
                <a:lnTo>
                  <a:pt x="2946" y="1282"/>
                </a:lnTo>
                <a:lnTo>
                  <a:pt x="2951" y="1288"/>
                </a:lnTo>
                <a:lnTo>
                  <a:pt x="2954" y="1295"/>
                </a:lnTo>
                <a:lnTo>
                  <a:pt x="2955" y="1300"/>
                </a:lnTo>
                <a:lnTo>
                  <a:pt x="2970" y="1284"/>
                </a:lnTo>
                <a:lnTo>
                  <a:pt x="2986" y="1275"/>
                </a:lnTo>
                <a:lnTo>
                  <a:pt x="3001" y="1271"/>
                </a:lnTo>
                <a:lnTo>
                  <a:pt x="3015" y="1270"/>
                </a:lnTo>
                <a:lnTo>
                  <a:pt x="3029" y="1271"/>
                </a:lnTo>
                <a:lnTo>
                  <a:pt x="3039" y="1275"/>
                </a:lnTo>
                <a:lnTo>
                  <a:pt x="3048" y="1281"/>
                </a:lnTo>
                <a:lnTo>
                  <a:pt x="3053" y="1286"/>
                </a:lnTo>
                <a:lnTo>
                  <a:pt x="3057" y="1292"/>
                </a:lnTo>
                <a:lnTo>
                  <a:pt x="3058" y="1296"/>
                </a:lnTo>
                <a:lnTo>
                  <a:pt x="3061" y="1307"/>
                </a:lnTo>
                <a:lnTo>
                  <a:pt x="3061" y="1321"/>
                </a:lnTo>
                <a:lnTo>
                  <a:pt x="3059" y="1333"/>
                </a:lnTo>
                <a:lnTo>
                  <a:pt x="3057" y="1345"/>
                </a:lnTo>
                <a:lnTo>
                  <a:pt x="3037" y="1437"/>
                </a:lnTo>
                <a:lnTo>
                  <a:pt x="2988" y="1437"/>
                </a:lnTo>
                <a:lnTo>
                  <a:pt x="3010" y="1341"/>
                </a:lnTo>
                <a:lnTo>
                  <a:pt x="3012" y="1323"/>
                </a:lnTo>
                <a:lnTo>
                  <a:pt x="3011" y="1316"/>
                </a:lnTo>
                <a:lnTo>
                  <a:pt x="3007" y="1310"/>
                </a:lnTo>
                <a:lnTo>
                  <a:pt x="3000" y="1305"/>
                </a:lnTo>
                <a:lnTo>
                  <a:pt x="2990" y="1303"/>
                </a:lnTo>
                <a:lnTo>
                  <a:pt x="2977" y="1306"/>
                </a:lnTo>
                <a:lnTo>
                  <a:pt x="2967" y="1311"/>
                </a:lnTo>
                <a:lnTo>
                  <a:pt x="2960" y="1320"/>
                </a:lnTo>
                <a:lnTo>
                  <a:pt x="2955" y="1331"/>
                </a:lnTo>
                <a:lnTo>
                  <a:pt x="2952" y="1342"/>
                </a:lnTo>
                <a:lnTo>
                  <a:pt x="2949" y="1355"/>
                </a:lnTo>
                <a:lnTo>
                  <a:pt x="2931" y="1437"/>
                </a:lnTo>
                <a:lnTo>
                  <a:pt x="2883" y="1437"/>
                </a:lnTo>
                <a:lnTo>
                  <a:pt x="2904" y="1340"/>
                </a:lnTo>
                <a:lnTo>
                  <a:pt x="2906" y="1325"/>
                </a:lnTo>
                <a:lnTo>
                  <a:pt x="2905" y="1317"/>
                </a:lnTo>
                <a:lnTo>
                  <a:pt x="2903" y="1310"/>
                </a:lnTo>
                <a:lnTo>
                  <a:pt x="2896" y="1305"/>
                </a:lnTo>
                <a:lnTo>
                  <a:pt x="2885" y="1303"/>
                </a:lnTo>
                <a:lnTo>
                  <a:pt x="2872" y="1306"/>
                </a:lnTo>
                <a:lnTo>
                  <a:pt x="2862" y="1311"/>
                </a:lnTo>
                <a:lnTo>
                  <a:pt x="2855" y="1318"/>
                </a:lnTo>
                <a:lnTo>
                  <a:pt x="2850" y="1326"/>
                </a:lnTo>
                <a:lnTo>
                  <a:pt x="2848" y="1335"/>
                </a:lnTo>
                <a:lnTo>
                  <a:pt x="2847" y="1341"/>
                </a:lnTo>
                <a:lnTo>
                  <a:pt x="2827" y="1437"/>
                </a:lnTo>
                <a:lnTo>
                  <a:pt x="2778" y="1437"/>
                </a:lnTo>
                <a:lnTo>
                  <a:pt x="2807" y="1303"/>
                </a:lnTo>
                <a:lnTo>
                  <a:pt x="2812" y="1274"/>
                </a:lnTo>
                <a:lnTo>
                  <a:pt x="2858" y="1274"/>
                </a:lnTo>
                <a:lnTo>
                  <a:pt x="2855" y="1293"/>
                </a:lnTo>
                <a:lnTo>
                  <a:pt x="2860" y="1288"/>
                </a:lnTo>
                <a:lnTo>
                  <a:pt x="2868" y="1282"/>
                </a:lnTo>
                <a:lnTo>
                  <a:pt x="2879" y="1276"/>
                </a:lnTo>
                <a:lnTo>
                  <a:pt x="2893" y="1271"/>
                </a:lnTo>
                <a:lnTo>
                  <a:pt x="2910" y="1270"/>
                </a:lnTo>
                <a:close/>
                <a:moveTo>
                  <a:pt x="2697" y="1270"/>
                </a:moveTo>
                <a:lnTo>
                  <a:pt x="2720" y="1272"/>
                </a:lnTo>
                <a:lnTo>
                  <a:pt x="2737" y="1279"/>
                </a:lnTo>
                <a:lnTo>
                  <a:pt x="2751" y="1288"/>
                </a:lnTo>
                <a:lnTo>
                  <a:pt x="2760" y="1302"/>
                </a:lnTo>
                <a:lnTo>
                  <a:pt x="2765" y="1318"/>
                </a:lnTo>
                <a:lnTo>
                  <a:pt x="2766" y="1336"/>
                </a:lnTo>
                <a:lnTo>
                  <a:pt x="2763" y="1355"/>
                </a:lnTo>
                <a:lnTo>
                  <a:pt x="2757" y="1375"/>
                </a:lnTo>
                <a:lnTo>
                  <a:pt x="2748" y="1392"/>
                </a:lnTo>
                <a:lnTo>
                  <a:pt x="2737" y="1408"/>
                </a:lnTo>
                <a:lnTo>
                  <a:pt x="2722" y="1423"/>
                </a:lnTo>
                <a:lnTo>
                  <a:pt x="2704" y="1433"/>
                </a:lnTo>
                <a:lnTo>
                  <a:pt x="2683" y="1441"/>
                </a:lnTo>
                <a:lnTo>
                  <a:pt x="2659" y="1443"/>
                </a:lnTo>
                <a:lnTo>
                  <a:pt x="2640" y="1442"/>
                </a:lnTo>
                <a:lnTo>
                  <a:pt x="2624" y="1436"/>
                </a:lnTo>
                <a:lnTo>
                  <a:pt x="2610" y="1427"/>
                </a:lnTo>
                <a:lnTo>
                  <a:pt x="2600" y="1415"/>
                </a:lnTo>
                <a:lnTo>
                  <a:pt x="2593" y="1398"/>
                </a:lnTo>
                <a:lnTo>
                  <a:pt x="2592" y="1380"/>
                </a:lnTo>
                <a:lnTo>
                  <a:pt x="2594" y="1357"/>
                </a:lnTo>
                <a:lnTo>
                  <a:pt x="2598" y="1342"/>
                </a:lnTo>
                <a:lnTo>
                  <a:pt x="2605" y="1327"/>
                </a:lnTo>
                <a:lnTo>
                  <a:pt x="2614" y="1312"/>
                </a:lnTo>
                <a:lnTo>
                  <a:pt x="2625" y="1298"/>
                </a:lnTo>
                <a:lnTo>
                  <a:pt x="2639" y="1287"/>
                </a:lnTo>
                <a:lnTo>
                  <a:pt x="2655" y="1277"/>
                </a:lnTo>
                <a:lnTo>
                  <a:pt x="2675" y="1272"/>
                </a:lnTo>
                <a:lnTo>
                  <a:pt x="2697" y="1270"/>
                </a:lnTo>
                <a:close/>
                <a:moveTo>
                  <a:pt x="2515" y="1270"/>
                </a:moveTo>
                <a:lnTo>
                  <a:pt x="2525" y="1270"/>
                </a:lnTo>
                <a:lnTo>
                  <a:pt x="2538" y="1271"/>
                </a:lnTo>
                <a:lnTo>
                  <a:pt x="2551" y="1275"/>
                </a:lnTo>
                <a:lnTo>
                  <a:pt x="2562" y="1280"/>
                </a:lnTo>
                <a:lnTo>
                  <a:pt x="2571" y="1288"/>
                </a:lnTo>
                <a:lnTo>
                  <a:pt x="2577" y="1300"/>
                </a:lnTo>
                <a:lnTo>
                  <a:pt x="2579" y="1313"/>
                </a:lnTo>
                <a:lnTo>
                  <a:pt x="2578" y="1331"/>
                </a:lnTo>
                <a:lnTo>
                  <a:pt x="2531" y="1331"/>
                </a:lnTo>
                <a:lnTo>
                  <a:pt x="2532" y="1327"/>
                </a:lnTo>
                <a:lnTo>
                  <a:pt x="2532" y="1315"/>
                </a:lnTo>
                <a:lnTo>
                  <a:pt x="2530" y="1307"/>
                </a:lnTo>
                <a:lnTo>
                  <a:pt x="2525" y="1303"/>
                </a:lnTo>
                <a:lnTo>
                  <a:pt x="2517" y="1301"/>
                </a:lnTo>
                <a:lnTo>
                  <a:pt x="2507" y="1303"/>
                </a:lnTo>
                <a:lnTo>
                  <a:pt x="2498" y="1311"/>
                </a:lnTo>
                <a:lnTo>
                  <a:pt x="2492" y="1321"/>
                </a:lnTo>
                <a:lnTo>
                  <a:pt x="2487" y="1332"/>
                </a:lnTo>
                <a:lnTo>
                  <a:pt x="2484" y="1343"/>
                </a:lnTo>
                <a:lnTo>
                  <a:pt x="2481" y="1353"/>
                </a:lnTo>
                <a:lnTo>
                  <a:pt x="2480" y="1361"/>
                </a:lnTo>
                <a:lnTo>
                  <a:pt x="2477" y="1372"/>
                </a:lnTo>
                <a:lnTo>
                  <a:pt x="2477" y="1383"/>
                </a:lnTo>
                <a:lnTo>
                  <a:pt x="2479" y="1395"/>
                </a:lnTo>
                <a:lnTo>
                  <a:pt x="2482" y="1403"/>
                </a:lnTo>
                <a:lnTo>
                  <a:pt x="2487" y="1408"/>
                </a:lnTo>
                <a:lnTo>
                  <a:pt x="2491" y="1410"/>
                </a:lnTo>
                <a:lnTo>
                  <a:pt x="2497" y="1410"/>
                </a:lnTo>
                <a:lnTo>
                  <a:pt x="2503" y="1407"/>
                </a:lnTo>
                <a:lnTo>
                  <a:pt x="2510" y="1402"/>
                </a:lnTo>
                <a:lnTo>
                  <a:pt x="2517" y="1392"/>
                </a:lnTo>
                <a:lnTo>
                  <a:pt x="2522" y="1377"/>
                </a:lnTo>
                <a:lnTo>
                  <a:pt x="2569" y="1377"/>
                </a:lnTo>
                <a:lnTo>
                  <a:pt x="2567" y="1388"/>
                </a:lnTo>
                <a:lnTo>
                  <a:pt x="2562" y="1401"/>
                </a:lnTo>
                <a:lnTo>
                  <a:pt x="2552" y="1413"/>
                </a:lnTo>
                <a:lnTo>
                  <a:pt x="2538" y="1426"/>
                </a:lnTo>
                <a:lnTo>
                  <a:pt x="2523" y="1435"/>
                </a:lnTo>
                <a:lnTo>
                  <a:pt x="2507" y="1440"/>
                </a:lnTo>
                <a:lnTo>
                  <a:pt x="2489" y="1441"/>
                </a:lnTo>
                <a:lnTo>
                  <a:pt x="2474" y="1440"/>
                </a:lnTo>
                <a:lnTo>
                  <a:pt x="2460" y="1437"/>
                </a:lnTo>
                <a:lnTo>
                  <a:pt x="2447" y="1431"/>
                </a:lnTo>
                <a:lnTo>
                  <a:pt x="2438" y="1420"/>
                </a:lnTo>
                <a:lnTo>
                  <a:pt x="2431" y="1406"/>
                </a:lnTo>
                <a:lnTo>
                  <a:pt x="2428" y="1391"/>
                </a:lnTo>
                <a:lnTo>
                  <a:pt x="2428" y="1373"/>
                </a:lnTo>
                <a:lnTo>
                  <a:pt x="2430" y="1355"/>
                </a:lnTo>
                <a:lnTo>
                  <a:pt x="2438" y="1330"/>
                </a:lnTo>
                <a:lnTo>
                  <a:pt x="2449" y="1310"/>
                </a:lnTo>
                <a:lnTo>
                  <a:pt x="2461" y="1295"/>
                </a:lnTo>
                <a:lnTo>
                  <a:pt x="2476" y="1285"/>
                </a:lnTo>
                <a:lnTo>
                  <a:pt x="2490" y="1277"/>
                </a:lnTo>
                <a:lnTo>
                  <a:pt x="2503" y="1272"/>
                </a:lnTo>
                <a:lnTo>
                  <a:pt x="2515" y="1270"/>
                </a:lnTo>
                <a:close/>
                <a:moveTo>
                  <a:pt x="1683" y="1270"/>
                </a:moveTo>
                <a:lnTo>
                  <a:pt x="1703" y="1271"/>
                </a:lnTo>
                <a:lnTo>
                  <a:pt x="1720" y="1277"/>
                </a:lnTo>
                <a:lnTo>
                  <a:pt x="1732" y="1285"/>
                </a:lnTo>
                <a:lnTo>
                  <a:pt x="1742" y="1296"/>
                </a:lnTo>
                <a:lnTo>
                  <a:pt x="1749" y="1308"/>
                </a:lnTo>
                <a:lnTo>
                  <a:pt x="1751" y="1322"/>
                </a:lnTo>
                <a:lnTo>
                  <a:pt x="1752" y="1338"/>
                </a:lnTo>
                <a:lnTo>
                  <a:pt x="1750" y="1355"/>
                </a:lnTo>
                <a:lnTo>
                  <a:pt x="1744" y="1375"/>
                </a:lnTo>
                <a:lnTo>
                  <a:pt x="1735" y="1392"/>
                </a:lnTo>
                <a:lnTo>
                  <a:pt x="1722" y="1408"/>
                </a:lnTo>
                <a:lnTo>
                  <a:pt x="1708" y="1423"/>
                </a:lnTo>
                <a:lnTo>
                  <a:pt x="1690" y="1433"/>
                </a:lnTo>
                <a:lnTo>
                  <a:pt x="1669" y="1441"/>
                </a:lnTo>
                <a:lnTo>
                  <a:pt x="1645" y="1443"/>
                </a:lnTo>
                <a:lnTo>
                  <a:pt x="1627" y="1442"/>
                </a:lnTo>
                <a:lnTo>
                  <a:pt x="1609" y="1436"/>
                </a:lnTo>
                <a:lnTo>
                  <a:pt x="1596" y="1427"/>
                </a:lnTo>
                <a:lnTo>
                  <a:pt x="1586" y="1415"/>
                </a:lnTo>
                <a:lnTo>
                  <a:pt x="1578" y="1398"/>
                </a:lnTo>
                <a:lnTo>
                  <a:pt x="1577" y="1380"/>
                </a:lnTo>
                <a:lnTo>
                  <a:pt x="1579" y="1357"/>
                </a:lnTo>
                <a:lnTo>
                  <a:pt x="1583" y="1342"/>
                </a:lnTo>
                <a:lnTo>
                  <a:pt x="1591" y="1327"/>
                </a:lnTo>
                <a:lnTo>
                  <a:pt x="1599" y="1312"/>
                </a:lnTo>
                <a:lnTo>
                  <a:pt x="1611" y="1298"/>
                </a:lnTo>
                <a:lnTo>
                  <a:pt x="1624" y="1287"/>
                </a:lnTo>
                <a:lnTo>
                  <a:pt x="1640" y="1277"/>
                </a:lnTo>
                <a:lnTo>
                  <a:pt x="1660" y="1272"/>
                </a:lnTo>
                <a:lnTo>
                  <a:pt x="1683" y="1270"/>
                </a:lnTo>
                <a:close/>
                <a:moveTo>
                  <a:pt x="87" y="1270"/>
                </a:moveTo>
                <a:lnTo>
                  <a:pt x="97" y="1270"/>
                </a:lnTo>
                <a:lnTo>
                  <a:pt x="111" y="1271"/>
                </a:lnTo>
                <a:lnTo>
                  <a:pt x="123" y="1275"/>
                </a:lnTo>
                <a:lnTo>
                  <a:pt x="134" y="1280"/>
                </a:lnTo>
                <a:lnTo>
                  <a:pt x="143" y="1288"/>
                </a:lnTo>
                <a:lnTo>
                  <a:pt x="149" y="1300"/>
                </a:lnTo>
                <a:lnTo>
                  <a:pt x="152" y="1313"/>
                </a:lnTo>
                <a:lnTo>
                  <a:pt x="150" y="1331"/>
                </a:lnTo>
                <a:lnTo>
                  <a:pt x="104" y="1331"/>
                </a:lnTo>
                <a:lnTo>
                  <a:pt x="104" y="1315"/>
                </a:lnTo>
                <a:lnTo>
                  <a:pt x="102" y="1307"/>
                </a:lnTo>
                <a:lnTo>
                  <a:pt x="97" y="1303"/>
                </a:lnTo>
                <a:lnTo>
                  <a:pt x="90" y="1301"/>
                </a:lnTo>
                <a:lnTo>
                  <a:pt x="80" y="1303"/>
                </a:lnTo>
                <a:lnTo>
                  <a:pt x="71" y="1311"/>
                </a:lnTo>
                <a:lnTo>
                  <a:pt x="65" y="1321"/>
                </a:lnTo>
                <a:lnTo>
                  <a:pt x="60" y="1332"/>
                </a:lnTo>
                <a:lnTo>
                  <a:pt x="56" y="1343"/>
                </a:lnTo>
                <a:lnTo>
                  <a:pt x="53" y="1353"/>
                </a:lnTo>
                <a:lnTo>
                  <a:pt x="52" y="1361"/>
                </a:lnTo>
                <a:lnTo>
                  <a:pt x="50" y="1372"/>
                </a:lnTo>
                <a:lnTo>
                  <a:pt x="50" y="1383"/>
                </a:lnTo>
                <a:lnTo>
                  <a:pt x="51" y="1395"/>
                </a:lnTo>
                <a:lnTo>
                  <a:pt x="55" y="1403"/>
                </a:lnTo>
                <a:lnTo>
                  <a:pt x="60" y="1408"/>
                </a:lnTo>
                <a:lnTo>
                  <a:pt x="63" y="1410"/>
                </a:lnTo>
                <a:lnTo>
                  <a:pt x="70" y="1410"/>
                </a:lnTo>
                <a:lnTo>
                  <a:pt x="76" y="1407"/>
                </a:lnTo>
                <a:lnTo>
                  <a:pt x="83" y="1402"/>
                </a:lnTo>
                <a:lnTo>
                  <a:pt x="90" y="1392"/>
                </a:lnTo>
                <a:lnTo>
                  <a:pt x="96" y="1377"/>
                </a:lnTo>
                <a:lnTo>
                  <a:pt x="142" y="1377"/>
                </a:lnTo>
                <a:lnTo>
                  <a:pt x="139" y="1388"/>
                </a:lnTo>
                <a:lnTo>
                  <a:pt x="133" y="1401"/>
                </a:lnTo>
                <a:lnTo>
                  <a:pt x="124" y="1413"/>
                </a:lnTo>
                <a:lnTo>
                  <a:pt x="111" y="1426"/>
                </a:lnTo>
                <a:lnTo>
                  <a:pt x="96" y="1435"/>
                </a:lnTo>
                <a:lnTo>
                  <a:pt x="80" y="1440"/>
                </a:lnTo>
                <a:lnTo>
                  <a:pt x="61" y="1441"/>
                </a:lnTo>
                <a:lnTo>
                  <a:pt x="46" y="1440"/>
                </a:lnTo>
                <a:lnTo>
                  <a:pt x="31" y="1437"/>
                </a:lnTo>
                <a:lnTo>
                  <a:pt x="20" y="1431"/>
                </a:lnTo>
                <a:lnTo>
                  <a:pt x="10" y="1420"/>
                </a:lnTo>
                <a:lnTo>
                  <a:pt x="4" y="1406"/>
                </a:lnTo>
                <a:lnTo>
                  <a:pt x="0" y="1391"/>
                </a:lnTo>
                <a:lnTo>
                  <a:pt x="0" y="1373"/>
                </a:lnTo>
                <a:lnTo>
                  <a:pt x="2" y="1355"/>
                </a:lnTo>
                <a:lnTo>
                  <a:pt x="10" y="1330"/>
                </a:lnTo>
                <a:lnTo>
                  <a:pt x="21" y="1310"/>
                </a:lnTo>
                <a:lnTo>
                  <a:pt x="34" y="1295"/>
                </a:lnTo>
                <a:lnTo>
                  <a:pt x="47" y="1285"/>
                </a:lnTo>
                <a:lnTo>
                  <a:pt x="62" y="1277"/>
                </a:lnTo>
                <a:lnTo>
                  <a:pt x="76" y="1272"/>
                </a:lnTo>
                <a:lnTo>
                  <a:pt x="87" y="1270"/>
                </a:lnTo>
                <a:close/>
                <a:moveTo>
                  <a:pt x="800" y="1269"/>
                </a:moveTo>
                <a:lnTo>
                  <a:pt x="815" y="1270"/>
                </a:lnTo>
                <a:lnTo>
                  <a:pt x="825" y="1274"/>
                </a:lnTo>
                <a:lnTo>
                  <a:pt x="833" y="1280"/>
                </a:lnTo>
                <a:lnTo>
                  <a:pt x="838" y="1287"/>
                </a:lnTo>
                <a:lnTo>
                  <a:pt x="842" y="1293"/>
                </a:lnTo>
                <a:lnTo>
                  <a:pt x="843" y="1300"/>
                </a:lnTo>
                <a:lnTo>
                  <a:pt x="843" y="1321"/>
                </a:lnTo>
                <a:lnTo>
                  <a:pt x="841" y="1332"/>
                </a:lnTo>
                <a:lnTo>
                  <a:pt x="837" y="1348"/>
                </a:lnTo>
                <a:lnTo>
                  <a:pt x="818" y="1437"/>
                </a:lnTo>
                <a:lnTo>
                  <a:pt x="770" y="1437"/>
                </a:lnTo>
                <a:lnTo>
                  <a:pt x="791" y="1335"/>
                </a:lnTo>
                <a:lnTo>
                  <a:pt x="792" y="1330"/>
                </a:lnTo>
                <a:lnTo>
                  <a:pt x="793" y="1326"/>
                </a:lnTo>
                <a:lnTo>
                  <a:pt x="793" y="1321"/>
                </a:lnTo>
                <a:lnTo>
                  <a:pt x="792" y="1317"/>
                </a:lnTo>
                <a:lnTo>
                  <a:pt x="790" y="1311"/>
                </a:lnTo>
                <a:lnTo>
                  <a:pt x="782" y="1306"/>
                </a:lnTo>
                <a:lnTo>
                  <a:pt x="772" y="1303"/>
                </a:lnTo>
                <a:lnTo>
                  <a:pt x="762" y="1305"/>
                </a:lnTo>
                <a:lnTo>
                  <a:pt x="752" y="1310"/>
                </a:lnTo>
                <a:lnTo>
                  <a:pt x="745" y="1316"/>
                </a:lnTo>
                <a:lnTo>
                  <a:pt x="739" y="1325"/>
                </a:lnTo>
                <a:lnTo>
                  <a:pt x="734" y="1341"/>
                </a:lnTo>
                <a:lnTo>
                  <a:pt x="714" y="1437"/>
                </a:lnTo>
                <a:lnTo>
                  <a:pt x="665" y="1437"/>
                </a:lnTo>
                <a:lnTo>
                  <a:pt x="694" y="1302"/>
                </a:lnTo>
                <a:lnTo>
                  <a:pt x="694" y="1300"/>
                </a:lnTo>
                <a:lnTo>
                  <a:pt x="696" y="1291"/>
                </a:lnTo>
                <a:lnTo>
                  <a:pt x="698" y="1282"/>
                </a:lnTo>
                <a:lnTo>
                  <a:pt x="699" y="1272"/>
                </a:lnTo>
                <a:lnTo>
                  <a:pt x="745" y="1272"/>
                </a:lnTo>
                <a:lnTo>
                  <a:pt x="741" y="1297"/>
                </a:lnTo>
                <a:lnTo>
                  <a:pt x="746" y="1291"/>
                </a:lnTo>
                <a:lnTo>
                  <a:pt x="755" y="1284"/>
                </a:lnTo>
                <a:lnTo>
                  <a:pt x="766" y="1276"/>
                </a:lnTo>
                <a:lnTo>
                  <a:pt x="781" y="1271"/>
                </a:lnTo>
                <a:lnTo>
                  <a:pt x="800" y="1269"/>
                </a:lnTo>
                <a:close/>
                <a:moveTo>
                  <a:pt x="3464" y="1267"/>
                </a:moveTo>
                <a:lnTo>
                  <a:pt x="3478" y="1269"/>
                </a:lnTo>
                <a:lnTo>
                  <a:pt x="3492" y="1272"/>
                </a:lnTo>
                <a:lnTo>
                  <a:pt x="3505" y="1280"/>
                </a:lnTo>
                <a:lnTo>
                  <a:pt x="3515" y="1291"/>
                </a:lnTo>
                <a:lnTo>
                  <a:pt x="3522" y="1307"/>
                </a:lnTo>
                <a:lnTo>
                  <a:pt x="3524" y="1330"/>
                </a:lnTo>
                <a:lnTo>
                  <a:pt x="3523" y="1351"/>
                </a:lnTo>
                <a:lnTo>
                  <a:pt x="3519" y="1367"/>
                </a:lnTo>
                <a:lnTo>
                  <a:pt x="3409" y="1367"/>
                </a:lnTo>
                <a:lnTo>
                  <a:pt x="3408" y="1373"/>
                </a:lnTo>
                <a:lnTo>
                  <a:pt x="3406" y="1381"/>
                </a:lnTo>
                <a:lnTo>
                  <a:pt x="3408" y="1390"/>
                </a:lnTo>
                <a:lnTo>
                  <a:pt x="3409" y="1397"/>
                </a:lnTo>
                <a:lnTo>
                  <a:pt x="3414" y="1405"/>
                </a:lnTo>
                <a:lnTo>
                  <a:pt x="3421" y="1410"/>
                </a:lnTo>
                <a:lnTo>
                  <a:pt x="3434" y="1411"/>
                </a:lnTo>
                <a:lnTo>
                  <a:pt x="3442" y="1410"/>
                </a:lnTo>
                <a:lnTo>
                  <a:pt x="3451" y="1407"/>
                </a:lnTo>
                <a:lnTo>
                  <a:pt x="3460" y="1400"/>
                </a:lnTo>
                <a:lnTo>
                  <a:pt x="3466" y="1388"/>
                </a:lnTo>
                <a:lnTo>
                  <a:pt x="3510" y="1388"/>
                </a:lnTo>
                <a:lnTo>
                  <a:pt x="3507" y="1398"/>
                </a:lnTo>
                <a:lnTo>
                  <a:pt x="3500" y="1411"/>
                </a:lnTo>
                <a:lnTo>
                  <a:pt x="3487" y="1425"/>
                </a:lnTo>
                <a:lnTo>
                  <a:pt x="3470" y="1435"/>
                </a:lnTo>
                <a:lnTo>
                  <a:pt x="3449" y="1441"/>
                </a:lnTo>
                <a:lnTo>
                  <a:pt x="3426" y="1443"/>
                </a:lnTo>
                <a:lnTo>
                  <a:pt x="3416" y="1443"/>
                </a:lnTo>
                <a:lnTo>
                  <a:pt x="3405" y="1441"/>
                </a:lnTo>
                <a:lnTo>
                  <a:pt x="3394" y="1437"/>
                </a:lnTo>
                <a:lnTo>
                  <a:pt x="3383" y="1432"/>
                </a:lnTo>
                <a:lnTo>
                  <a:pt x="3373" y="1422"/>
                </a:lnTo>
                <a:lnTo>
                  <a:pt x="3365" y="1410"/>
                </a:lnTo>
                <a:lnTo>
                  <a:pt x="3362" y="1395"/>
                </a:lnTo>
                <a:lnTo>
                  <a:pt x="3362" y="1377"/>
                </a:lnTo>
                <a:lnTo>
                  <a:pt x="3365" y="1358"/>
                </a:lnTo>
                <a:lnTo>
                  <a:pt x="3370" y="1342"/>
                </a:lnTo>
                <a:lnTo>
                  <a:pt x="3376" y="1325"/>
                </a:lnTo>
                <a:lnTo>
                  <a:pt x="3386" y="1308"/>
                </a:lnTo>
                <a:lnTo>
                  <a:pt x="3399" y="1293"/>
                </a:lnTo>
                <a:lnTo>
                  <a:pt x="3415" y="1281"/>
                </a:lnTo>
                <a:lnTo>
                  <a:pt x="3439" y="1271"/>
                </a:lnTo>
                <a:lnTo>
                  <a:pt x="3464" y="1267"/>
                </a:lnTo>
                <a:close/>
                <a:moveTo>
                  <a:pt x="3893" y="1225"/>
                </a:moveTo>
                <a:lnTo>
                  <a:pt x="3883" y="1274"/>
                </a:lnTo>
                <a:lnTo>
                  <a:pt x="3921" y="1274"/>
                </a:lnTo>
                <a:lnTo>
                  <a:pt x="3914" y="1306"/>
                </a:lnTo>
                <a:lnTo>
                  <a:pt x="3875" y="1306"/>
                </a:lnTo>
                <a:lnTo>
                  <a:pt x="3859" y="1380"/>
                </a:lnTo>
                <a:lnTo>
                  <a:pt x="3858" y="1388"/>
                </a:lnTo>
                <a:lnTo>
                  <a:pt x="3858" y="1395"/>
                </a:lnTo>
                <a:lnTo>
                  <a:pt x="3860" y="1400"/>
                </a:lnTo>
                <a:lnTo>
                  <a:pt x="3865" y="1403"/>
                </a:lnTo>
                <a:lnTo>
                  <a:pt x="3876" y="1405"/>
                </a:lnTo>
                <a:lnTo>
                  <a:pt x="3885" y="1405"/>
                </a:lnTo>
                <a:lnTo>
                  <a:pt x="3889" y="1403"/>
                </a:lnTo>
                <a:lnTo>
                  <a:pt x="3893" y="1403"/>
                </a:lnTo>
                <a:lnTo>
                  <a:pt x="3885" y="1435"/>
                </a:lnTo>
                <a:lnTo>
                  <a:pt x="3870" y="1438"/>
                </a:lnTo>
                <a:lnTo>
                  <a:pt x="3858" y="1440"/>
                </a:lnTo>
                <a:lnTo>
                  <a:pt x="3848" y="1440"/>
                </a:lnTo>
                <a:lnTo>
                  <a:pt x="3832" y="1438"/>
                </a:lnTo>
                <a:lnTo>
                  <a:pt x="3820" y="1435"/>
                </a:lnTo>
                <a:lnTo>
                  <a:pt x="3813" y="1430"/>
                </a:lnTo>
                <a:lnTo>
                  <a:pt x="3809" y="1423"/>
                </a:lnTo>
                <a:lnTo>
                  <a:pt x="3807" y="1416"/>
                </a:lnTo>
                <a:lnTo>
                  <a:pt x="3807" y="1408"/>
                </a:lnTo>
                <a:lnTo>
                  <a:pt x="3809" y="1396"/>
                </a:lnTo>
                <a:lnTo>
                  <a:pt x="3828" y="1306"/>
                </a:lnTo>
                <a:lnTo>
                  <a:pt x="3796" y="1306"/>
                </a:lnTo>
                <a:lnTo>
                  <a:pt x="3803" y="1274"/>
                </a:lnTo>
                <a:lnTo>
                  <a:pt x="3834" y="1274"/>
                </a:lnTo>
                <a:lnTo>
                  <a:pt x="3842" y="1242"/>
                </a:lnTo>
                <a:lnTo>
                  <a:pt x="3893" y="1225"/>
                </a:lnTo>
                <a:close/>
                <a:moveTo>
                  <a:pt x="1245" y="1225"/>
                </a:moveTo>
                <a:lnTo>
                  <a:pt x="1234" y="1274"/>
                </a:lnTo>
                <a:lnTo>
                  <a:pt x="1273" y="1274"/>
                </a:lnTo>
                <a:lnTo>
                  <a:pt x="1266" y="1306"/>
                </a:lnTo>
                <a:lnTo>
                  <a:pt x="1227" y="1306"/>
                </a:lnTo>
                <a:lnTo>
                  <a:pt x="1211" y="1380"/>
                </a:lnTo>
                <a:lnTo>
                  <a:pt x="1210" y="1388"/>
                </a:lnTo>
                <a:lnTo>
                  <a:pt x="1210" y="1395"/>
                </a:lnTo>
                <a:lnTo>
                  <a:pt x="1213" y="1400"/>
                </a:lnTo>
                <a:lnTo>
                  <a:pt x="1218" y="1403"/>
                </a:lnTo>
                <a:lnTo>
                  <a:pt x="1227" y="1405"/>
                </a:lnTo>
                <a:lnTo>
                  <a:pt x="1236" y="1405"/>
                </a:lnTo>
                <a:lnTo>
                  <a:pt x="1241" y="1403"/>
                </a:lnTo>
                <a:lnTo>
                  <a:pt x="1245" y="1403"/>
                </a:lnTo>
                <a:lnTo>
                  <a:pt x="1237" y="1435"/>
                </a:lnTo>
                <a:lnTo>
                  <a:pt x="1222" y="1438"/>
                </a:lnTo>
                <a:lnTo>
                  <a:pt x="1210" y="1440"/>
                </a:lnTo>
                <a:lnTo>
                  <a:pt x="1200" y="1440"/>
                </a:lnTo>
                <a:lnTo>
                  <a:pt x="1184" y="1438"/>
                </a:lnTo>
                <a:lnTo>
                  <a:pt x="1173" y="1435"/>
                </a:lnTo>
                <a:lnTo>
                  <a:pt x="1165" y="1430"/>
                </a:lnTo>
                <a:lnTo>
                  <a:pt x="1162" y="1423"/>
                </a:lnTo>
                <a:lnTo>
                  <a:pt x="1159" y="1416"/>
                </a:lnTo>
                <a:lnTo>
                  <a:pt x="1159" y="1402"/>
                </a:lnTo>
                <a:lnTo>
                  <a:pt x="1160" y="1396"/>
                </a:lnTo>
                <a:lnTo>
                  <a:pt x="1180" y="1306"/>
                </a:lnTo>
                <a:lnTo>
                  <a:pt x="1149" y="1306"/>
                </a:lnTo>
                <a:lnTo>
                  <a:pt x="1155" y="1274"/>
                </a:lnTo>
                <a:lnTo>
                  <a:pt x="1186" y="1274"/>
                </a:lnTo>
                <a:lnTo>
                  <a:pt x="1194" y="1242"/>
                </a:lnTo>
                <a:lnTo>
                  <a:pt x="1245" y="1225"/>
                </a:lnTo>
                <a:close/>
                <a:moveTo>
                  <a:pt x="449" y="1225"/>
                </a:moveTo>
                <a:lnTo>
                  <a:pt x="438" y="1274"/>
                </a:lnTo>
                <a:lnTo>
                  <a:pt x="504" y="1274"/>
                </a:lnTo>
                <a:lnTo>
                  <a:pt x="510" y="1242"/>
                </a:lnTo>
                <a:lnTo>
                  <a:pt x="562" y="1225"/>
                </a:lnTo>
                <a:lnTo>
                  <a:pt x="551" y="1274"/>
                </a:lnTo>
                <a:lnTo>
                  <a:pt x="589" y="1274"/>
                </a:lnTo>
                <a:lnTo>
                  <a:pt x="583" y="1306"/>
                </a:lnTo>
                <a:lnTo>
                  <a:pt x="545" y="1306"/>
                </a:lnTo>
                <a:lnTo>
                  <a:pt x="529" y="1380"/>
                </a:lnTo>
                <a:lnTo>
                  <a:pt x="527" y="1388"/>
                </a:lnTo>
                <a:lnTo>
                  <a:pt x="527" y="1395"/>
                </a:lnTo>
                <a:lnTo>
                  <a:pt x="530" y="1400"/>
                </a:lnTo>
                <a:lnTo>
                  <a:pt x="535" y="1403"/>
                </a:lnTo>
                <a:lnTo>
                  <a:pt x="545" y="1405"/>
                </a:lnTo>
                <a:lnTo>
                  <a:pt x="553" y="1405"/>
                </a:lnTo>
                <a:lnTo>
                  <a:pt x="558" y="1403"/>
                </a:lnTo>
                <a:lnTo>
                  <a:pt x="562" y="1403"/>
                </a:lnTo>
                <a:lnTo>
                  <a:pt x="555" y="1435"/>
                </a:lnTo>
                <a:lnTo>
                  <a:pt x="540" y="1438"/>
                </a:lnTo>
                <a:lnTo>
                  <a:pt x="526" y="1440"/>
                </a:lnTo>
                <a:lnTo>
                  <a:pt x="516" y="1440"/>
                </a:lnTo>
                <a:lnTo>
                  <a:pt x="501" y="1438"/>
                </a:lnTo>
                <a:lnTo>
                  <a:pt x="490" y="1435"/>
                </a:lnTo>
                <a:lnTo>
                  <a:pt x="483" y="1430"/>
                </a:lnTo>
                <a:lnTo>
                  <a:pt x="478" y="1423"/>
                </a:lnTo>
                <a:lnTo>
                  <a:pt x="476" y="1416"/>
                </a:lnTo>
                <a:lnTo>
                  <a:pt x="476" y="1402"/>
                </a:lnTo>
                <a:lnTo>
                  <a:pt x="478" y="1396"/>
                </a:lnTo>
                <a:lnTo>
                  <a:pt x="496" y="1306"/>
                </a:lnTo>
                <a:lnTo>
                  <a:pt x="432" y="1306"/>
                </a:lnTo>
                <a:lnTo>
                  <a:pt x="415" y="1380"/>
                </a:lnTo>
                <a:lnTo>
                  <a:pt x="414" y="1388"/>
                </a:lnTo>
                <a:lnTo>
                  <a:pt x="414" y="1395"/>
                </a:lnTo>
                <a:lnTo>
                  <a:pt x="417" y="1400"/>
                </a:lnTo>
                <a:lnTo>
                  <a:pt x="422" y="1403"/>
                </a:lnTo>
                <a:lnTo>
                  <a:pt x="433" y="1405"/>
                </a:lnTo>
                <a:lnTo>
                  <a:pt x="440" y="1405"/>
                </a:lnTo>
                <a:lnTo>
                  <a:pt x="445" y="1403"/>
                </a:lnTo>
                <a:lnTo>
                  <a:pt x="449" y="1403"/>
                </a:lnTo>
                <a:lnTo>
                  <a:pt x="441" y="1435"/>
                </a:lnTo>
                <a:lnTo>
                  <a:pt x="427" y="1438"/>
                </a:lnTo>
                <a:lnTo>
                  <a:pt x="414" y="1440"/>
                </a:lnTo>
                <a:lnTo>
                  <a:pt x="404" y="1440"/>
                </a:lnTo>
                <a:lnTo>
                  <a:pt x="388" y="1438"/>
                </a:lnTo>
                <a:lnTo>
                  <a:pt x="377" y="1435"/>
                </a:lnTo>
                <a:lnTo>
                  <a:pt x="369" y="1430"/>
                </a:lnTo>
                <a:lnTo>
                  <a:pt x="366" y="1423"/>
                </a:lnTo>
                <a:lnTo>
                  <a:pt x="363" y="1416"/>
                </a:lnTo>
                <a:lnTo>
                  <a:pt x="363" y="1402"/>
                </a:lnTo>
                <a:lnTo>
                  <a:pt x="364" y="1396"/>
                </a:lnTo>
                <a:lnTo>
                  <a:pt x="384" y="1306"/>
                </a:lnTo>
                <a:lnTo>
                  <a:pt x="352" y="1306"/>
                </a:lnTo>
                <a:lnTo>
                  <a:pt x="359" y="1274"/>
                </a:lnTo>
                <a:lnTo>
                  <a:pt x="391" y="1274"/>
                </a:lnTo>
                <a:lnTo>
                  <a:pt x="398" y="1242"/>
                </a:lnTo>
                <a:lnTo>
                  <a:pt x="449" y="1225"/>
                </a:lnTo>
                <a:close/>
                <a:moveTo>
                  <a:pt x="3750" y="1202"/>
                </a:moveTo>
                <a:lnTo>
                  <a:pt x="3801" y="1202"/>
                </a:lnTo>
                <a:lnTo>
                  <a:pt x="3792" y="1245"/>
                </a:lnTo>
                <a:lnTo>
                  <a:pt x="3741" y="1245"/>
                </a:lnTo>
                <a:lnTo>
                  <a:pt x="3750" y="1202"/>
                </a:lnTo>
                <a:close/>
                <a:moveTo>
                  <a:pt x="3321" y="1202"/>
                </a:moveTo>
                <a:lnTo>
                  <a:pt x="3368" y="1202"/>
                </a:lnTo>
                <a:lnTo>
                  <a:pt x="3318" y="1437"/>
                </a:lnTo>
                <a:lnTo>
                  <a:pt x="3271" y="1437"/>
                </a:lnTo>
                <a:lnTo>
                  <a:pt x="3321" y="1202"/>
                </a:lnTo>
                <a:close/>
                <a:moveTo>
                  <a:pt x="2190" y="1202"/>
                </a:moveTo>
                <a:lnTo>
                  <a:pt x="2237" y="1202"/>
                </a:lnTo>
                <a:lnTo>
                  <a:pt x="2217" y="1296"/>
                </a:lnTo>
                <a:lnTo>
                  <a:pt x="2222" y="1290"/>
                </a:lnTo>
                <a:lnTo>
                  <a:pt x="2231" y="1284"/>
                </a:lnTo>
                <a:lnTo>
                  <a:pt x="2241" y="1277"/>
                </a:lnTo>
                <a:lnTo>
                  <a:pt x="2255" y="1272"/>
                </a:lnTo>
                <a:lnTo>
                  <a:pt x="2271" y="1271"/>
                </a:lnTo>
                <a:lnTo>
                  <a:pt x="2287" y="1274"/>
                </a:lnTo>
                <a:lnTo>
                  <a:pt x="2299" y="1279"/>
                </a:lnTo>
                <a:lnTo>
                  <a:pt x="2308" y="1285"/>
                </a:lnTo>
                <a:lnTo>
                  <a:pt x="2313" y="1293"/>
                </a:lnTo>
                <a:lnTo>
                  <a:pt x="2316" y="1303"/>
                </a:lnTo>
                <a:lnTo>
                  <a:pt x="2317" y="1318"/>
                </a:lnTo>
                <a:lnTo>
                  <a:pt x="2314" y="1337"/>
                </a:lnTo>
                <a:lnTo>
                  <a:pt x="2293" y="1437"/>
                </a:lnTo>
                <a:lnTo>
                  <a:pt x="2246" y="1437"/>
                </a:lnTo>
                <a:lnTo>
                  <a:pt x="2267" y="1338"/>
                </a:lnTo>
                <a:lnTo>
                  <a:pt x="2268" y="1333"/>
                </a:lnTo>
                <a:lnTo>
                  <a:pt x="2268" y="1321"/>
                </a:lnTo>
                <a:lnTo>
                  <a:pt x="2267" y="1315"/>
                </a:lnTo>
                <a:lnTo>
                  <a:pt x="2263" y="1308"/>
                </a:lnTo>
                <a:lnTo>
                  <a:pt x="2257" y="1305"/>
                </a:lnTo>
                <a:lnTo>
                  <a:pt x="2247" y="1303"/>
                </a:lnTo>
                <a:lnTo>
                  <a:pt x="2239" y="1305"/>
                </a:lnTo>
                <a:lnTo>
                  <a:pt x="2230" y="1307"/>
                </a:lnTo>
                <a:lnTo>
                  <a:pt x="2221" y="1313"/>
                </a:lnTo>
                <a:lnTo>
                  <a:pt x="2215" y="1323"/>
                </a:lnTo>
                <a:lnTo>
                  <a:pt x="2210" y="1337"/>
                </a:lnTo>
                <a:lnTo>
                  <a:pt x="2189" y="1437"/>
                </a:lnTo>
                <a:lnTo>
                  <a:pt x="2140" y="1437"/>
                </a:lnTo>
                <a:lnTo>
                  <a:pt x="2190" y="1202"/>
                </a:lnTo>
                <a:close/>
                <a:moveTo>
                  <a:pt x="1313" y="1202"/>
                </a:moveTo>
                <a:lnTo>
                  <a:pt x="1361" y="1202"/>
                </a:lnTo>
                <a:lnTo>
                  <a:pt x="1341" y="1296"/>
                </a:lnTo>
                <a:lnTo>
                  <a:pt x="1346" y="1290"/>
                </a:lnTo>
                <a:lnTo>
                  <a:pt x="1354" y="1284"/>
                </a:lnTo>
                <a:lnTo>
                  <a:pt x="1364" y="1277"/>
                </a:lnTo>
                <a:lnTo>
                  <a:pt x="1378" y="1272"/>
                </a:lnTo>
                <a:lnTo>
                  <a:pt x="1394" y="1271"/>
                </a:lnTo>
                <a:lnTo>
                  <a:pt x="1410" y="1274"/>
                </a:lnTo>
                <a:lnTo>
                  <a:pt x="1423" y="1279"/>
                </a:lnTo>
                <a:lnTo>
                  <a:pt x="1431" y="1285"/>
                </a:lnTo>
                <a:lnTo>
                  <a:pt x="1436" y="1293"/>
                </a:lnTo>
                <a:lnTo>
                  <a:pt x="1439" y="1303"/>
                </a:lnTo>
                <a:lnTo>
                  <a:pt x="1440" y="1318"/>
                </a:lnTo>
                <a:lnTo>
                  <a:pt x="1438" y="1337"/>
                </a:lnTo>
                <a:lnTo>
                  <a:pt x="1417" y="1437"/>
                </a:lnTo>
                <a:lnTo>
                  <a:pt x="1369" y="1437"/>
                </a:lnTo>
                <a:lnTo>
                  <a:pt x="1390" y="1338"/>
                </a:lnTo>
                <a:lnTo>
                  <a:pt x="1392" y="1333"/>
                </a:lnTo>
                <a:lnTo>
                  <a:pt x="1392" y="1321"/>
                </a:lnTo>
                <a:lnTo>
                  <a:pt x="1390" y="1315"/>
                </a:lnTo>
                <a:lnTo>
                  <a:pt x="1387" y="1308"/>
                </a:lnTo>
                <a:lnTo>
                  <a:pt x="1380" y="1305"/>
                </a:lnTo>
                <a:lnTo>
                  <a:pt x="1370" y="1303"/>
                </a:lnTo>
                <a:lnTo>
                  <a:pt x="1362" y="1305"/>
                </a:lnTo>
                <a:lnTo>
                  <a:pt x="1353" y="1307"/>
                </a:lnTo>
                <a:lnTo>
                  <a:pt x="1344" y="1313"/>
                </a:lnTo>
                <a:lnTo>
                  <a:pt x="1338" y="1323"/>
                </a:lnTo>
                <a:lnTo>
                  <a:pt x="1333" y="1337"/>
                </a:lnTo>
                <a:lnTo>
                  <a:pt x="1312" y="1437"/>
                </a:lnTo>
                <a:lnTo>
                  <a:pt x="1264" y="1437"/>
                </a:lnTo>
                <a:lnTo>
                  <a:pt x="1313" y="1202"/>
                </a:lnTo>
                <a:close/>
                <a:moveTo>
                  <a:pt x="627" y="1202"/>
                </a:moveTo>
                <a:lnTo>
                  <a:pt x="679" y="1202"/>
                </a:lnTo>
                <a:lnTo>
                  <a:pt x="669" y="1245"/>
                </a:lnTo>
                <a:lnTo>
                  <a:pt x="618" y="1245"/>
                </a:lnTo>
                <a:lnTo>
                  <a:pt x="627" y="1202"/>
                </a:lnTo>
                <a:close/>
                <a:moveTo>
                  <a:pt x="1905" y="764"/>
                </a:moveTo>
                <a:lnTo>
                  <a:pt x="1908" y="792"/>
                </a:lnTo>
                <a:lnTo>
                  <a:pt x="1915" y="815"/>
                </a:lnTo>
                <a:lnTo>
                  <a:pt x="1925" y="834"/>
                </a:lnTo>
                <a:lnTo>
                  <a:pt x="1940" y="850"/>
                </a:lnTo>
                <a:lnTo>
                  <a:pt x="1957" y="861"/>
                </a:lnTo>
                <a:lnTo>
                  <a:pt x="1979" y="870"/>
                </a:lnTo>
                <a:lnTo>
                  <a:pt x="2002" y="875"/>
                </a:lnTo>
                <a:lnTo>
                  <a:pt x="2028" y="876"/>
                </a:lnTo>
                <a:lnTo>
                  <a:pt x="2071" y="874"/>
                </a:lnTo>
                <a:lnTo>
                  <a:pt x="2113" y="868"/>
                </a:lnTo>
                <a:lnTo>
                  <a:pt x="2138" y="764"/>
                </a:lnTo>
                <a:lnTo>
                  <a:pt x="1905" y="764"/>
                </a:lnTo>
                <a:close/>
                <a:moveTo>
                  <a:pt x="1583" y="566"/>
                </a:moveTo>
                <a:lnTo>
                  <a:pt x="1469" y="744"/>
                </a:lnTo>
                <a:lnTo>
                  <a:pt x="1545" y="744"/>
                </a:lnTo>
                <a:lnTo>
                  <a:pt x="1583" y="566"/>
                </a:lnTo>
                <a:close/>
                <a:moveTo>
                  <a:pt x="1214" y="558"/>
                </a:moveTo>
                <a:lnTo>
                  <a:pt x="1160" y="744"/>
                </a:lnTo>
                <a:lnTo>
                  <a:pt x="1215" y="744"/>
                </a:lnTo>
                <a:lnTo>
                  <a:pt x="1214" y="558"/>
                </a:lnTo>
                <a:close/>
                <a:moveTo>
                  <a:pt x="769" y="528"/>
                </a:moveTo>
                <a:lnTo>
                  <a:pt x="752" y="593"/>
                </a:lnTo>
                <a:lnTo>
                  <a:pt x="745" y="619"/>
                </a:lnTo>
                <a:lnTo>
                  <a:pt x="730" y="675"/>
                </a:lnTo>
                <a:lnTo>
                  <a:pt x="781" y="675"/>
                </a:lnTo>
                <a:lnTo>
                  <a:pt x="788" y="674"/>
                </a:lnTo>
                <a:lnTo>
                  <a:pt x="796" y="674"/>
                </a:lnTo>
                <a:lnTo>
                  <a:pt x="820" y="670"/>
                </a:lnTo>
                <a:lnTo>
                  <a:pt x="839" y="665"/>
                </a:lnTo>
                <a:lnTo>
                  <a:pt x="856" y="657"/>
                </a:lnTo>
                <a:lnTo>
                  <a:pt x="867" y="647"/>
                </a:lnTo>
                <a:lnTo>
                  <a:pt x="877" y="633"/>
                </a:lnTo>
                <a:lnTo>
                  <a:pt x="885" y="618"/>
                </a:lnTo>
                <a:lnTo>
                  <a:pt x="892" y="599"/>
                </a:lnTo>
                <a:lnTo>
                  <a:pt x="897" y="581"/>
                </a:lnTo>
                <a:lnTo>
                  <a:pt x="899" y="566"/>
                </a:lnTo>
                <a:lnTo>
                  <a:pt x="898" y="553"/>
                </a:lnTo>
                <a:lnTo>
                  <a:pt x="894" y="544"/>
                </a:lnTo>
                <a:lnTo>
                  <a:pt x="887" y="537"/>
                </a:lnTo>
                <a:lnTo>
                  <a:pt x="874" y="533"/>
                </a:lnTo>
                <a:lnTo>
                  <a:pt x="859" y="529"/>
                </a:lnTo>
                <a:lnTo>
                  <a:pt x="839" y="528"/>
                </a:lnTo>
                <a:lnTo>
                  <a:pt x="769" y="528"/>
                </a:lnTo>
                <a:close/>
                <a:moveTo>
                  <a:pt x="1908" y="20"/>
                </a:moveTo>
                <a:lnTo>
                  <a:pt x="1908" y="476"/>
                </a:lnTo>
                <a:lnTo>
                  <a:pt x="1946" y="454"/>
                </a:lnTo>
                <a:lnTo>
                  <a:pt x="1985" y="438"/>
                </a:lnTo>
                <a:lnTo>
                  <a:pt x="2023" y="427"/>
                </a:lnTo>
                <a:lnTo>
                  <a:pt x="2062" y="421"/>
                </a:lnTo>
                <a:lnTo>
                  <a:pt x="2097" y="417"/>
                </a:lnTo>
                <a:lnTo>
                  <a:pt x="2129" y="416"/>
                </a:lnTo>
                <a:lnTo>
                  <a:pt x="2169" y="417"/>
                </a:lnTo>
                <a:lnTo>
                  <a:pt x="2206" y="422"/>
                </a:lnTo>
                <a:lnTo>
                  <a:pt x="2239" y="431"/>
                </a:lnTo>
                <a:lnTo>
                  <a:pt x="2267" y="442"/>
                </a:lnTo>
                <a:lnTo>
                  <a:pt x="2291" y="458"/>
                </a:lnTo>
                <a:lnTo>
                  <a:pt x="2309" y="478"/>
                </a:lnTo>
                <a:lnTo>
                  <a:pt x="2321" y="499"/>
                </a:lnTo>
                <a:lnTo>
                  <a:pt x="2327" y="519"/>
                </a:lnTo>
                <a:lnTo>
                  <a:pt x="2329" y="539"/>
                </a:lnTo>
                <a:lnTo>
                  <a:pt x="2328" y="559"/>
                </a:lnTo>
                <a:lnTo>
                  <a:pt x="2326" y="576"/>
                </a:lnTo>
                <a:lnTo>
                  <a:pt x="2322" y="591"/>
                </a:lnTo>
                <a:lnTo>
                  <a:pt x="2171" y="591"/>
                </a:lnTo>
                <a:lnTo>
                  <a:pt x="2171" y="572"/>
                </a:lnTo>
                <a:lnTo>
                  <a:pt x="2168" y="556"/>
                </a:lnTo>
                <a:lnTo>
                  <a:pt x="2161" y="543"/>
                </a:lnTo>
                <a:lnTo>
                  <a:pt x="2151" y="534"/>
                </a:lnTo>
                <a:lnTo>
                  <a:pt x="2139" y="527"/>
                </a:lnTo>
                <a:lnTo>
                  <a:pt x="2127" y="523"/>
                </a:lnTo>
                <a:lnTo>
                  <a:pt x="2112" y="521"/>
                </a:lnTo>
                <a:lnTo>
                  <a:pt x="2097" y="519"/>
                </a:lnTo>
                <a:lnTo>
                  <a:pt x="2064" y="523"/>
                </a:lnTo>
                <a:lnTo>
                  <a:pt x="2035" y="532"/>
                </a:lnTo>
                <a:lnTo>
                  <a:pt x="2008" y="546"/>
                </a:lnTo>
                <a:lnTo>
                  <a:pt x="1985" y="564"/>
                </a:lnTo>
                <a:lnTo>
                  <a:pt x="1965" y="587"/>
                </a:lnTo>
                <a:lnTo>
                  <a:pt x="1948" y="612"/>
                </a:lnTo>
                <a:lnTo>
                  <a:pt x="1933" y="639"/>
                </a:lnTo>
                <a:lnTo>
                  <a:pt x="1921" y="668"/>
                </a:lnTo>
                <a:lnTo>
                  <a:pt x="1913" y="698"/>
                </a:lnTo>
                <a:lnTo>
                  <a:pt x="1910" y="714"/>
                </a:lnTo>
                <a:lnTo>
                  <a:pt x="1908" y="728"/>
                </a:lnTo>
                <a:lnTo>
                  <a:pt x="1908" y="744"/>
                </a:lnTo>
                <a:lnTo>
                  <a:pt x="2030" y="744"/>
                </a:lnTo>
                <a:lnTo>
                  <a:pt x="2051" y="662"/>
                </a:lnTo>
                <a:lnTo>
                  <a:pt x="2303" y="662"/>
                </a:lnTo>
                <a:lnTo>
                  <a:pt x="2282" y="744"/>
                </a:lnTo>
                <a:lnTo>
                  <a:pt x="2408" y="744"/>
                </a:lnTo>
                <a:lnTo>
                  <a:pt x="2408" y="20"/>
                </a:lnTo>
                <a:lnTo>
                  <a:pt x="1908" y="20"/>
                </a:lnTo>
                <a:close/>
                <a:moveTo>
                  <a:pt x="1323" y="20"/>
                </a:moveTo>
                <a:lnTo>
                  <a:pt x="1323" y="744"/>
                </a:lnTo>
                <a:lnTo>
                  <a:pt x="1337" y="744"/>
                </a:lnTo>
                <a:lnTo>
                  <a:pt x="1527" y="446"/>
                </a:lnTo>
                <a:lnTo>
                  <a:pt x="1739" y="446"/>
                </a:lnTo>
                <a:lnTo>
                  <a:pt x="1675" y="744"/>
                </a:lnTo>
                <a:lnTo>
                  <a:pt x="1750" y="744"/>
                </a:lnTo>
                <a:lnTo>
                  <a:pt x="1752" y="723"/>
                </a:lnTo>
                <a:lnTo>
                  <a:pt x="1757" y="702"/>
                </a:lnTo>
                <a:lnTo>
                  <a:pt x="1767" y="668"/>
                </a:lnTo>
                <a:lnTo>
                  <a:pt x="1781" y="632"/>
                </a:lnTo>
                <a:lnTo>
                  <a:pt x="1801" y="594"/>
                </a:lnTo>
                <a:lnTo>
                  <a:pt x="1824" y="558"/>
                </a:lnTo>
                <a:lnTo>
                  <a:pt x="1824" y="20"/>
                </a:lnTo>
                <a:lnTo>
                  <a:pt x="1323" y="20"/>
                </a:lnTo>
                <a:close/>
                <a:moveTo>
                  <a:pt x="740" y="20"/>
                </a:moveTo>
                <a:lnTo>
                  <a:pt x="740" y="446"/>
                </a:lnTo>
                <a:lnTo>
                  <a:pt x="769" y="446"/>
                </a:lnTo>
                <a:lnTo>
                  <a:pt x="786" y="444"/>
                </a:lnTo>
                <a:lnTo>
                  <a:pt x="892" y="444"/>
                </a:lnTo>
                <a:lnTo>
                  <a:pt x="918" y="447"/>
                </a:lnTo>
                <a:lnTo>
                  <a:pt x="943" y="451"/>
                </a:lnTo>
                <a:lnTo>
                  <a:pt x="965" y="457"/>
                </a:lnTo>
                <a:lnTo>
                  <a:pt x="985" y="467"/>
                </a:lnTo>
                <a:lnTo>
                  <a:pt x="1001" y="482"/>
                </a:lnTo>
                <a:lnTo>
                  <a:pt x="1012" y="499"/>
                </a:lnTo>
                <a:lnTo>
                  <a:pt x="1020" y="519"/>
                </a:lnTo>
                <a:lnTo>
                  <a:pt x="1024" y="543"/>
                </a:lnTo>
                <a:lnTo>
                  <a:pt x="1022" y="571"/>
                </a:lnTo>
                <a:lnTo>
                  <a:pt x="1019" y="602"/>
                </a:lnTo>
                <a:lnTo>
                  <a:pt x="1010" y="636"/>
                </a:lnTo>
                <a:lnTo>
                  <a:pt x="996" y="665"/>
                </a:lnTo>
                <a:lnTo>
                  <a:pt x="977" y="690"/>
                </a:lnTo>
                <a:lnTo>
                  <a:pt x="955" y="713"/>
                </a:lnTo>
                <a:lnTo>
                  <a:pt x="928" y="730"/>
                </a:lnTo>
                <a:lnTo>
                  <a:pt x="897" y="744"/>
                </a:lnTo>
                <a:lnTo>
                  <a:pt x="1030" y="744"/>
                </a:lnTo>
                <a:lnTo>
                  <a:pt x="1116" y="446"/>
                </a:lnTo>
                <a:lnTo>
                  <a:pt x="1241" y="446"/>
                </a:lnTo>
                <a:lnTo>
                  <a:pt x="1241" y="20"/>
                </a:lnTo>
                <a:lnTo>
                  <a:pt x="740" y="20"/>
                </a:lnTo>
                <a:close/>
                <a:moveTo>
                  <a:pt x="157" y="20"/>
                </a:moveTo>
                <a:lnTo>
                  <a:pt x="157" y="446"/>
                </a:lnTo>
                <a:lnTo>
                  <a:pt x="277" y="446"/>
                </a:lnTo>
                <a:lnTo>
                  <a:pt x="213" y="660"/>
                </a:lnTo>
                <a:lnTo>
                  <a:pt x="412" y="446"/>
                </a:lnTo>
                <a:lnTo>
                  <a:pt x="575" y="446"/>
                </a:lnTo>
                <a:lnTo>
                  <a:pt x="321" y="707"/>
                </a:lnTo>
                <a:lnTo>
                  <a:pt x="340" y="744"/>
                </a:lnTo>
                <a:lnTo>
                  <a:pt x="575" y="744"/>
                </a:lnTo>
                <a:lnTo>
                  <a:pt x="577" y="737"/>
                </a:lnTo>
                <a:lnTo>
                  <a:pt x="649" y="498"/>
                </a:lnTo>
                <a:lnTo>
                  <a:pt x="657" y="472"/>
                </a:lnTo>
                <a:lnTo>
                  <a:pt x="657" y="20"/>
                </a:lnTo>
                <a:lnTo>
                  <a:pt x="157" y="20"/>
                </a:lnTo>
                <a:close/>
                <a:moveTo>
                  <a:pt x="138" y="0"/>
                </a:moveTo>
                <a:lnTo>
                  <a:pt x="677" y="0"/>
                </a:lnTo>
                <a:lnTo>
                  <a:pt x="677" y="446"/>
                </a:lnTo>
                <a:lnTo>
                  <a:pt x="721" y="446"/>
                </a:lnTo>
                <a:lnTo>
                  <a:pt x="721" y="0"/>
                </a:lnTo>
                <a:lnTo>
                  <a:pt x="1260" y="0"/>
                </a:lnTo>
                <a:lnTo>
                  <a:pt x="1260" y="446"/>
                </a:lnTo>
                <a:lnTo>
                  <a:pt x="1305" y="446"/>
                </a:lnTo>
                <a:lnTo>
                  <a:pt x="1305" y="0"/>
                </a:lnTo>
                <a:lnTo>
                  <a:pt x="1843" y="0"/>
                </a:lnTo>
                <a:lnTo>
                  <a:pt x="1843" y="532"/>
                </a:lnTo>
                <a:lnTo>
                  <a:pt x="1864" y="509"/>
                </a:lnTo>
                <a:lnTo>
                  <a:pt x="1888" y="489"/>
                </a:lnTo>
                <a:lnTo>
                  <a:pt x="1888" y="0"/>
                </a:lnTo>
                <a:lnTo>
                  <a:pt x="2428" y="0"/>
                </a:lnTo>
                <a:lnTo>
                  <a:pt x="2428" y="764"/>
                </a:lnTo>
                <a:lnTo>
                  <a:pt x="2277" y="764"/>
                </a:lnTo>
                <a:lnTo>
                  <a:pt x="2232" y="949"/>
                </a:lnTo>
                <a:lnTo>
                  <a:pt x="2170" y="961"/>
                </a:lnTo>
                <a:lnTo>
                  <a:pt x="2109" y="971"/>
                </a:lnTo>
                <a:lnTo>
                  <a:pt x="2048" y="976"/>
                </a:lnTo>
                <a:lnTo>
                  <a:pt x="1989" y="979"/>
                </a:lnTo>
                <a:lnTo>
                  <a:pt x="1962" y="979"/>
                </a:lnTo>
                <a:lnTo>
                  <a:pt x="1935" y="976"/>
                </a:lnTo>
                <a:lnTo>
                  <a:pt x="1906" y="971"/>
                </a:lnTo>
                <a:lnTo>
                  <a:pt x="1878" y="965"/>
                </a:lnTo>
                <a:lnTo>
                  <a:pt x="1851" y="955"/>
                </a:lnTo>
                <a:lnTo>
                  <a:pt x="1826" y="941"/>
                </a:lnTo>
                <a:lnTo>
                  <a:pt x="1802" y="924"/>
                </a:lnTo>
                <a:lnTo>
                  <a:pt x="1783" y="903"/>
                </a:lnTo>
                <a:lnTo>
                  <a:pt x="1768" y="879"/>
                </a:lnTo>
                <a:lnTo>
                  <a:pt x="1757" y="854"/>
                </a:lnTo>
                <a:lnTo>
                  <a:pt x="1751" y="825"/>
                </a:lnTo>
                <a:lnTo>
                  <a:pt x="1747" y="795"/>
                </a:lnTo>
                <a:lnTo>
                  <a:pt x="1747" y="764"/>
                </a:lnTo>
                <a:lnTo>
                  <a:pt x="1671" y="764"/>
                </a:lnTo>
                <a:lnTo>
                  <a:pt x="1629" y="968"/>
                </a:lnTo>
                <a:lnTo>
                  <a:pt x="1497" y="968"/>
                </a:lnTo>
                <a:lnTo>
                  <a:pt x="1541" y="764"/>
                </a:lnTo>
                <a:lnTo>
                  <a:pt x="1456" y="764"/>
                </a:lnTo>
                <a:lnTo>
                  <a:pt x="1328" y="968"/>
                </a:lnTo>
                <a:lnTo>
                  <a:pt x="1216" y="968"/>
                </a:lnTo>
                <a:lnTo>
                  <a:pt x="1215" y="764"/>
                </a:lnTo>
                <a:lnTo>
                  <a:pt x="1155" y="764"/>
                </a:lnTo>
                <a:lnTo>
                  <a:pt x="1098" y="968"/>
                </a:lnTo>
                <a:lnTo>
                  <a:pt x="965" y="968"/>
                </a:lnTo>
                <a:lnTo>
                  <a:pt x="1024" y="764"/>
                </a:lnTo>
                <a:lnTo>
                  <a:pt x="730" y="764"/>
                </a:lnTo>
                <a:lnTo>
                  <a:pt x="730" y="765"/>
                </a:lnTo>
                <a:lnTo>
                  <a:pt x="700" y="765"/>
                </a:lnTo>
                <a:lnTo>
                  <a:pt x="640" y="969"/>
                </a:lnTo>
                <a:lnTo>
                  <a:pt x="507" y="969"/>
                </a:lnTo>
                <a:lnTo>
                  <a:pt x="570" y="764"/>
                </a:lnTo>
                <a:lnTo>
                  <a:pt x="348" y="764"/>
                </a:lnTo>
                <a:lnTo>
                  <a:pt x="445" y="969"/>
                </a:lnTo>
                <a:lnTo>
                  <a:pt x="300" y="969"/>
                </a:lnTo>
                <a:lnTo>
                  <a:pt x="199" y="764"/>
                </a:lnTo>
                <a:lnTo>
                  <a:pt x="182" y="764"/>
                </a:lnTo>
                <a:lnTo>
                  <a:pt x="121" y="969"/>
                </a:lnTo>
                <a:lnTo>
                  <a:pt x="0" y="969"/>
                </a:lnTo>
                <a:lnTo>
                  <a:pt x="138" y="508"/>
                </a:lnTo>
                <a:lnTo>
                  <a:pt x="138" y="0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923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26338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hank You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2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50492" y="1412776"/>
            <a:ext cx="4385282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769" b="1" kern="1200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1.0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одержание Проекта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837" y="2708282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844083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0674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08"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7" name="Freeform 12"/>
          <p:cNvSpPr>
            <a:spLocks noChangeAspect="1"/>
          </p:cNvSpPr>
          <p:nvPr userDrawn="1"/>
        </p:nvSpPr>
        <p:spPr bwMode="gray">
          <a:xfrm>
            <a:off x="4" y="2"/>
            <a:ext cx="5238485" cy="5395913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0489" y="1556792"/>
            <a:ext cx="3744416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769" b="1" kern="1200" noProof="0" dirty="0">
                <a:solidFill>
                  <a:schemeClr val="bg1"/>
                </a:solidFill>
                <a:latin typeface="Arial"/>
                <a:ea typeface="+mj-ea"/>
                <a:cs typeface="Arial" pitchFamily="34" charset="0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0489" y="3789040"/>
            <a:ext cx="3276364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>
              <a:buNone/>
              <a:defRPr lang="en-GB" sz="1108" b="0" kern="1200" noProof="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66124" indent="-1266124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66124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88165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10207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532248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2954289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376331" indent="0" algn="ctr">
              <a:buNone/>
              <a:defRPr lang="en-GB" sz="1108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844083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" y="0"/>
            <a:ext cx="3094989" cy="15493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463404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300705" y="116632"/>
            <a:ext cx="7332245" cy="5760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662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8720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sz="166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520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300705" y="116632"/>
            <a:ext cx="7332245" cy="57606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72480" y="1196752"/>
            <a:ext cx="9361040" cy="489654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Line 31"/>
          <p:cNvSpPr>
            <a:spLocks noChangeShapeType="1"/>
          </p:cNvSpPr>
          <p:nvPr userDrawn="1"/>
        </p:nvSpPr>
        <p:spPr bwMode="gray">
          <a:xfrm>
            <a:off x="0" y="908720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225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Key Issues Box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300710" y="116632"/>
            <a:ext cx="7332245" cy="57606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72480" y="1196752"/>
            <a:ext cx="9361040" cy="489654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925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868962" y="229697"/>
            <a:ext cx="7344246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250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>
          <a:xfrm>
            <a:off x="350489" y="533400"/>
            <a:ext cx="9205023" cy="3753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2612364" y="1124745"/>
            <a:ext cx="4603263" cy="4968552"/>
          </a:xfrm>
          <a:prstGeom prst="rect">
            <a:avLst/>
          </a:prstGeom>
        </p:spPr>
        <p:txBody>
          <a:bodyPr anchor="t" anchorCtr="1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017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xfrm>
            <a:off x="2300710" y="116632"/>
            <a:ext cx="7332815" cy="576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92219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2"/>
          <p:cNvSpPr>
            <a:spLocks noChangeAspect="1"/>
          </p:cNvSpPr>
          <p:nvPr userDrawn="1"/>
        </p:nvSpPr>
        <p:spPr bwMode="gray">
          <a:xfrm>
            <a:off x="1" y="1"/>
            <a:ext cx="5238485" cy="5395913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0489" y="1556792"/>
            <a:ext cx="3744416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>
                <a:solidFill>
                  <a:schemeClr val="bg1"/>
                </a:solidFill>
                <a:latin typeface="Arial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0489" y="3789040"/>
            <a:ext cx="3276364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>
              <a:buNone/>
              <a:defRPr lang="en-GB" sz="1200" b="0" kern="1200" noProof="0" dirty="0">
                <a:solidFill>
                  <a:schemeClr val="bg1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371600" indent="-137160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indent="0" algn="ctr">
              <a:buNone/>
              <a:defRPr lang="en-GB" sz="1200" b="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noProof="0" smtClean="0"/>
              <a:t>Click to edit Master subtitle style</a:t>
            </a:r>
            <a:endParaRPr lang="en-GB" noProof="0" dirty="0"/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139170" y="0"/>
            <a:ext cx="2808420" cy="153035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77986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2"/>
          <p:cNvSpPr>
            <a:spLocks noChangeAspect="1"/>
          </p:cNvSpPr>
          <p:nvPr userDrawn="1"/>
        </p:nvSpPr>
        <p:spPr bwMode="gray">
          <a:xfrm>
            <a:off x="1" y="1"/>
            <a:ext cx="5238485" cy="5395913"/>
          </a:xfrm>
          <a:custGeom>
            <a:avLst/>
            <a:gdLst/>
            <a:ahLst/>
            <a:cxnLst>
              <a:cxn ang="0">
                <a:pos x="24671" y="0"/>
              </a:cxn>
              <a:cxn ang="0">
                <a:pos x="0" y="0"/>
              </a:cxn>
              <a:cxn ang="0">
                <a:pos x="0" y="27539"/>
              </a:cxn>
              <a:cxn ang="0">
                <a:pos x="16529" y="27539"/>
              </a:cxn>
              <a:cxn ang="0">
                <a:pos x="24671" y="0"/>
              </a:cxn>
            </a:cxnLst>
            <a:rect l="0" t="0" r="r" b="b"/>
            <a:pathLst>
              <a:path w="24671" h="27539">
                <a:moveTo>
                  <a:pt x="24671" y="0"/>
                </a:moveTo>
                <a:lnTo>
                  <a:pt x="0" y="0"/>
                </a:lnTo>
                <a:lnTo>
                  <a:pt x="0" y="27539"/>
                </a:lnTo>
                <a:lnTo>
                  <a:pt x="16529" y="27539"/>
                </a:lnTo>
                <a:lnTo>
                  <a:pt x="2467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/>
          </p:nvPr>
        </p:nvSpPr>
        <p:spPr bwMode="gray">
          <a:xfrm>
            <a:off x="351000" y="1556792"/>
            <a:ext cx="3750417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351000" y="3789041"/>
            <a:ext cx="3282365" cy="107982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0" name="Group 11"/>
          <p:cNvGrpSpPr>
            <a:grpSpLocks noChangeAspect="1"/>
          </p:cNvGrpSpPr>
          <p:nvPr userDrawn="1"/>
        </p:nvGrpSpPr>
        <p:grpSpPr>
          <a:xfrm>
            <a:off x="139170" y="0"/>
            <a:ext cx="2808420" cy="153035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13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2320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"/>
          <p:cNvGrpSpPr>
            <a:grpSpLocks/>
          </p:cNvGrpSpPr>
          <p:nvPr userDrawn="1"/>
        </p:nvGrpSpPr>
        <p:grpSpPr bwMode="auto">
          <a:xfrm>
            <a:off x="176213" y="3"/>
            <a:ext cx="963612" cy="695325"/>
            <a:chOff x="175518" y="0"/>
            <a:chExt cx="963613" cy="695325"/>
          </a:xfrm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 userDrawn="1"/>
          </p:nvSpPr>
          <p:spPr bwMode="gray">
            <a:xfrm>
              <a:off x="294580" y="330200"/>
              <a:ext cx="650876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662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22" name="Text Placeholder 4"/>
          <p:cNvSpPr>
            <a:spLocks noGrp="1"/>
          </p:cNvSpPr>
          <p:nvPr>
            <p:ph type="body" sz="quarter" idx="15"/>
          </p:nvPr>
        </p:nvSpPr>
        <p:spPr bwMode="gray">
          <a:xfrm>
            <a:off x="2649545" y="6421438"/>
            <a:ext cx="2232025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/>
          </p:nvPr>
        </p:nvSpPr>
        <p:spPr bwMode="gray">
          <a:xfrm>
            <a:off x="258766" y="6421438"/>
            <a:ext cx="2247181" cy="17591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69" b="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3"/>
          </p:nvPr>
        </p:nvSpPr>
        <p:spPr bwMode="gray">
          <a:xfrm>
            <a:off x="2504727" y="548681"/>
            <a:ext cx="1368153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1136580" y="548681"/>
            <a:ext cx="1368153" cy="504056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646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646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1" y="1269454"/>
            <a:ext cx="4604544" cy="489639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20469" y="1269454"/>
            <a:ext cx="4604544" cy="4896396"/>
          </a:xfrm>
          <a:ln w="6350">
            <a:solidFill>
              <a:srgbClr val="747678"/>
            </a:solidFill>
          </a:ln>
        </p:spPr>
        <p:txBody>
          <a:bodyPr lIns="72000" tIns="72000" rIns="72000" bIns="72000">
            <a:normAutofit/>
          </a:bodyPr>
          <a:lstStyle>
            <a:lvl1pPr>
              <a:lnSpc>
                <a:spcPct val="100000"/>
              </a:lnSpc>
              <a:spcBef>
                <a:spcPts val="310"/>
              </a:spcBef>
              <a:defRPr sz="646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310"/>
              </a:spcBef>
              <a:defRPr sz="646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310"/>
              </a:spcBef>
              <a:buClrTx/>
              <a:defRPr sz="646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310"/>
              </a:spcBef>
              <a:buClrTx/>
              <a:defRPr sz="646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310"/>
              </a:spcBef>
              <a:buClrTx/>
              <a:defRPr sz="646">
                <a:solidFill>
                  <a:schemeClr val="accent4"/>
                </a:solidFill>
                <a:latin typeface="+mn-lt"/>
                <a:cs typeface="Arial" panose="020B0604020202020204" pitchFamily="34" charset="0"/>
              </a:defRPr>
            </a:lvl5pPr>
            <a:lvl6pPr>
              <a:lnSpc>
                <a:spcPct val="100000"/>
              </a:lnSpc>
              <a:spcBef>
                <a:spcPts val="310"/>
              </a:spcBef>
              <a:buClrTx/>
              <a:defRPr sz="646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10"/>
              </a:spcBef>
              <a:buClrTx/>
              <a:defRPr sz="646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10"/>
              </a:spcBef>
              <a:buClrTx/>
              <a:defRPr sz="646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10"/>
              </a:spcBef>
              <a:buClrTx/>
              <a:defRPr sz="646" baseline="0">
                <a:solidFill>
                  <a:schemeClr val="accent4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867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 noEditPoints="1"/>
          </p:cNvSpPr>
          <p:nvPr userDrawn="1"/>
        </p:nvSpPr>
        <p:spPr bwMode="gray">
          <a:xfrm>
            <a:off x="1" y="547687"/>
            <a:ext cx="5073385" cy="4848226"/>
          </a:xfrm>
          <a:custGeom>
            <a:avLst/>
            <a:gdLst/>
            <a:ahLst/>
            <a:cxnLst>
              <a:cxn ang="0">
                <a:pos x="2950" y="0"/>
              </a:cxn>
              <a:cxn ang="0">
                <a:pos x="433" y="0"/>
              </a:cxn>
              <a:cxn ang="0">
                <a:pos x="0" y="1461"/>
              </a:cxn>
              <a:cxn ang="0">
                <a:pos x="0" y="3054"/>
              </a:cxn>
              <a:cxn ang="0">
                <a:pos x="2046" y="3054"/>
              </a:cxn>
              <a:cxn ang="0">
                <a:pos x="2950" y="0"/>
              </a:cxn>
              <a:cxn ang="0">
                <a:pos x="2950" y="0"/>
              </a:cxn>
              <a:cxn ang="0">
                <a:pos x="2950" y="0"/>
              </a:cxn>
            </a:cxnLst>
            <a:rect l="0" t="0" r="r" b="b"/>
            <a:pathLst>
              <a:path w="2950" h="3054">
                <a:moveTo>
                  <a:pt x="2950" y="0"/>
                </a:moveTo>
                <a:lnTo>
                  <a:pt x="433" y="0"/>
                </a:lnTo>
                <a:lnTo>
                  <a:pt x="0" y="1461"/>
                </a:lnTo>
                <a:lnTo>
                  <a:pt x="0" y="3054"/>
                </a:lnTo>
                <a:lnTo>
                  <a:pt x="2046" y="3054"/>
                </a:lnTo>
                <a:lnTo>
                  <a:pt x="2950" y="0"/>
                </a:lnTo>
                <a:close/>
                <a:moveTo>
                  <a:pt x="2950" y="0"/>
                </a:moveTo>
                <a:lnTo>
                  <a:pt x="295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/>
          </p:nvPr>
        </p:nvSpPr>
        <p:spPr bwMode="gray">
          <a:xfrm>
            <a:off x="896012" y="1844824"/>
            <a:ext cx="3120884" cy="194389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/>
          </p:nvPr>
        </p:nvSpPr>
        <p:spPr bwMode="gray">
          <a:xfrm>
            <a:off x="896012" y="4005064"/>
            <a:ext cx="2730841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740532" y="548680"/>
            <a:ext cx="1981963" cy="108000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9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0294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 bwMode="gray">
          <a:xfrm>
            <a:off x="0" y="0"/>
            <a:ext cx="9906000" cy="6859588"/>
            <a:chOff x="3175" y="-1588"/>
            <a:chExt cx="9140826" cy="6859588"/>
          </a:xfrm>
        </p:grpSpPr>
        <p:sp>
          <p:nvSpPr>
            <p:cNvPr id="14" name="Freeform 23"/>
            <p:cNvSpPr>
              <a:spLocks noChangeAspect="1"/>
            </p:cNvSpPr>
            <p:nvPr userDrawn="1"/>
          </p:nvSpPr>
          <p:spPr bwMode="gray">
            <a:xfrm>
              <a:off x="3175" y="-1588"/>
              <a:ext cx="5008563" cy="3239162"/>
            </a:xfrm>
            <a:custGeom>
              <a:avLst/>
              <a:gdLst/>
              <a:ahLst/>
              <a:cxnLst>
                <a:cxn ang="0">
                  <a:pos x="20946" y="0"/>
                </a:cxn>
                <a:cxn ang="0">
                  <a:pos x="0" y="0"/>
                </a:cxn>
                <a:cxn ang="0">
                  <a:pos x="0" y="13538"/>
                </a:cxn>
                <a:cxn ang="0">
                  <a:pos x="16939" y="13538"/>
                </a:cxn>
                <a:cxn ang="0">
                  <a:pos x="20946" y="0"/>
                </a:cxn>
              </a:cxnLst>
              <a:rect l="0" t="0" r="r" b="b"/>
              <a:pathLst>
                <a:path w="20946" h="13538">
                  <a:moveTo>
                    <a:pt x="20946" y="0"/>
                  </a:moveTo>
                  <a:lnTo>
                    <a:pt x="0" y="0"/>
                  </a:lnTo>
                  <a:lnTo>
                    <a:pt x="0" y="13538"/>
                  </a:lnTo>
                  <a:lnTo>
                    <a:pt x="16939" y="13538"/>
                  </a:lnTo>
                  <a:lnTo>
                    <a:pt x="2094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22"/>
            <p:cNvSpPr>
              <a:spLocks noChangeAspect="1"/>
            </p:cNvSpPr>
            <p:nvPr userDrawn="1"/>
          </p:nvSpPr>
          <p:spPr bwMode="gray">
            <a:xfrm>
              <a:off x="1979613" y="1820540"/>
              <a:ext cx="7164388" cy="5037460"/>
            </a:xfrm>
            <a:custGeom>
              <a:avLst/>
              <a:gdLst/>
              <a:ahLst/>
              <a:cxnLst>
                <a:cxn ang="0">
                  <a:pos x="6229" y="0"/>
                </a:cxn>
                <a:cxn ang="0">
                  <a:pos x="0" y="21055"/>
                </a:cxn>
                <a:cxn ang="0">
                  <a:pos x="29957" y="21055"/>
                </a:cxn>
                <a:cxn ang="0">
                  <a:pos x="29957" y="0"/>
                </a:cxn>
                <a:cxn ang="0">
                  <a:pos x="6229" y="0"/>
                </a:cxn>
              </a:cxnLst>
              <a:rect l="0" t="0" r="r" b="b"/>
              <a:pathLst>
                <a:path w="29957" h="21055">
                  <a:moveTo>
                    <a:pt x="6229" y="0"/>
                  </a:moveTo>
                  <a:lnTo>
                    <a:pt x="0" y="21055"/>
                  </a:lnTo>
                  <a:lnTo>
                    <a:pt x="29957" y="21055"/>
                  </a:lnTo>
                  <a:lnTo>
                    <a:pt x="29957" y="0"/>
                  </a:lnTo>
                  <a:lnTo>
                    <a:pt x="622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24"/>
            <p:cNvSpPr>
              <a:spLocks noChangeAspect="1"/>
            </p:cNvSpPr>
            <p:nvPr userDrawn="1"/>
          </p:nvSpPr>
          <p:spPr bwMode="gray">
            <a:xfrm>
              <a:off x="3049588" y="1820540"/>
              <a:ext cx="1423988" cy="1418623"/>
            </a:xfrm>
            <a:custGeom>
              <a:avLst/>
              <a:gdLst/>
              <a:ahLst/>
              <a:cxnLst>
                <a:cxn ang="0">
                  <a:pos x="0" y="5926"/>
                </a:cxn>
                <a:cxn ang="0">
                  <a:pos x="4197" y="5926"/>
                </a:cxn>
                <a:cxn ang="0">
                  <a:pos x="5950" y="0"/>
                </a:cxn>
                <a:cxn ang="0">
                  <a:pos x="1752" y="0"/>
                </a:cxn>
                <a:cxn ang="0">
                  <a:pos x="0" y="5926"/>
                </a:cxn>
              </a:cxnLst>
              <a:rect l="0" t="0" r="r" b="b"/>
              <a:pathLst>
                <a:path w="5950" h="5926">
                  <a:moveTo>
                    <a:pt x="0" y="5926"/>
                  </a:moveTo>
                  <a:lnTo>
                    <a:pt x="4197" y="5926"/>
                  </a:lnTo>
                  <a:lnTo>
                    <a:pt x="5950" y="0"/>
                  </a:lnTo>
                  <a:lnTo>
                    <a:pt x="1752" y="0"/>
                  </a:lnTo>
                  <a:lnTo>
                    <a:pt x="0" y="5926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Title 19"/>
          <p:cNvSpPr>
            <a:spLocks noGrp="1"/>
          </p:cNvSpPr>
          <p:nvPr>
            <p:ph type="title"/>
          </p:nvPr>
        </p:nvSpPr>
        <p:spPr bwMode="gray">
          <a:xfrm>
            <a:off x="5031009" y="2492896"/>
            <a:ext cx="4446494" cy="2160240"/>
          </a:xfrm>
        </p:spPr>
        <p:txBody>
          <a:bodyPr anchor="t"/>
          <a:lstStyle>
            <a:lvl1pPr algn="r"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030392" y="5013326"/>
            <a:ext cx="4447381" cy="1439863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styles</a:t>
            </a:r>
          </a:p>
        </p:txBody>
      </p:sp>
      <p:grpSp>
        <p:nvGrpSpPr>
          <p:cNvPr id="12" name="Group 11"/>
          <p:cNvGrpSpPr>
            <a:grpSpLocks noChangeAspect="1"/>
          </p:cNvGrpSpPr>
          <p:nvPr userDrawn="1"/>
        </p:nvGrpSpPr>
        <p:grpSpPr>
          <a:xfrm>
            <a:off x="139170" y="0"/>
            <a:ext cx="2808420" cy="153035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38500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2612364" y="1124745"/>
            <a:ext cx="4603263" cy="4968552"/>
          </a:xfrm>
        </p:spPr>
        <p:txBody>
          <a:bodyPr anchor="t" anchorCtr="1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4000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719106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69758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194471" y="1124745"/>
            <a:ext cx="4602028" cy="4968552"/>
          </a:xfrm>
        </p:spPr>
        <p:txBody>
          <a:bodyPr/>
          <a:lstStyle>
            <a:lvl3pPr marL="273050" indent="-273050">
              <a:defRPr/>
            </a:lvl3pPr>
            <a:lvl4pPr marL="536575" indent="-263525">
              <a:defRPr/>
            </a:lvl4pPr>
            <a:lvl5pPr marL="809625" indent="-271463">
              <a:defRPr/>
            </a:lvl5pPr>
            <a:lvl6pPr marL="1071563" indent="-265113"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32245" y="1124745"/>
            <a:ext cx="4602028" cy="4968552"/>
          </a:xfrm>
        </p:spPr>
        <p:txBody>
          <a:bodyPr/>
          <a:lstStyle>
            <a:lvl3pPr marL="273050" indent="-273050">
              <a:defRPr/>
            </a:lvl3pPr>
            <a:lvl4pPr marL="536575" indent="-263525">
              <a:defRPr/>
            </a:lvl4pPr>
            <a:lvl5pPr marL="809625" indent="-271463">
              <a:defRPr/>
            </a:lvl5pPr>
            <a:lvl6pPr marL="1071563" indent="-265113" defTabSz="1071563">
              <a:tabLst/>
              <a:defRPr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2895571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194337" y="1125538"/>
            <a:ext cx="4602163" cy="2374900"/>
          </a:xfrm>
        </p:spPr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 bwMode="gray">
          <a:xfrm>
            <a:off x="5030392" y="1125538"/>
            <a:ext cx="4603882" cy="2374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 bwMode="gray">
          <a:xfrm>
            <a:off x="194337" y="3716339"/>
            <a:ext cx="4602163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 bwMode="gray">
          <a:xfrm>
            <a:off x="5030392" y="3716339"/>
            <a:ext cx="4603882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27647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e Chart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32245" y="1124745"/>
            <a:ext cx="4602028" cy="4968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2"/>
          </p:nvPr>
        </p:nvSpPr>
        <p:spPr bwMode="gray">
          <a:xfrm>
            <a:off x="194337" y="1125539"/>
            <a:ext cx="4602163" cy="49672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05255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e Table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32245" y="1124745"/>
            <a:ext cx="4602028" cy="4968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2"/>
          </p:nvPr>
        </p:nvSpPr>
        <p:spPr bwMode="gray">
          <a:xfrm>
            <a:off x="194337" y="1125539"/>
            <a:ext cx="4602163" cy="49672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5182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194471" y="1124746"/>
            <a:ext cx="9439049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194471" y="3717133"/>
            <a:ext cx="9439049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999297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15325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Chart One Row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194471" y="3717133"/>
            <a:ext cx="9439049" cy="237569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 bwMode="gray">
          <a:xfrm>
            <a:off x="194338" y="1125538"/>
            <a:ext cx="9439936" cy="23749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19566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22235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612365" y="1125539"/>
            <a:ext cx="218413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94338" y="1125539"/>
            <a:ext cx="2184135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5030392" y="1125539"/>
            <a:ext cx="218413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7450137" y="1125539"/>
            <a:ext cx="218413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4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194338" y="1916113"/>
            <a:ext cx="218413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618716" y="1916113"/>
            <a:ext cx="218413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993616" y="1916113"/>
            <a:ext cx="218413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7450138" y="1916113"/>
            <a:ext cx="2184135" cy="41767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006849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6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194337" y="1916113"/>
            <a:ext cx="1728540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7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2122186" y="1916113"/>
            <a:ext cx="1728540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8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4050036" y="1916113"/>
            <a:ext cx="1728540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5977885" y="1916113"/>
            <a:ext cx="1728540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7"/>
          </p:nvPr>
        </p:nvSpPr>
        <p:spPr bwMode="gray">
          <a:xfrm>
            <a:off x="7905734" y="1916113"/>
            <a:ext cx="1728540" cy="41767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122186" y="1125539"/>
            <a:ext cx="17163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94338" y="1125539"/>
            <a:ext cx="1716325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4050035" y="1125539"/>
            <a:ext cx="17163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977884" y="1125539"/>
            <a:ext cx="17163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7905733" y="1125539"/>
            <a:ext cx="1716325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25866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20"/>
          <p:cNvSpPr>
            <a:spLocks noChangeArrowheads="1"/>
          </p:cNvSpPr>
          <p:nvPr userDrawn="1"/>
        </p:nvSpPr>
        <p:spPr bwMode="gray">
          <a:xfrm rot="19080000" flipH="1">
            <a:off x="5082341" y="238789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6" name="AutoShape 17"/>
          <p:cNvSpPr>
            <a:spLocks noChangeArrowheads="1"/>
          </p:cNvSpPr>
          <p:nvPr userDrawn="1"/>
        </p:nvSpPr>
        <p:spPr bwMode="gray">
          <a:xfrm rot="2520000" flipH="1">
            <a:off x="5082341" y="4431706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520000">
            <a:off x="3119088" y="2387890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3" name="AutoShape 17"/>
          <p:cNvSpPr>
            <a:spLocks noChangeArrowheads="1"/>
          </p:cNvSpPr>
          <p:nvPr userDrawn="1"/>
        </p:nvSpPr>
        <p:spPr bwMode="gray">
          <a:xfrm rot="19080000">
            <a:off x="3119088" y="4431706"/>
            <a:ext cx="1622425" cy="381000"/>
          </a:xfrm>
          <a:prstGeom prst="rightArrow">
            <a:avLst>
              <a:gd name="adj1" fmla="val 63333"/>
              <a:gd name="adj2" fmla="val 49582"/>
            </a:avLst>
          </a:pr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000000"/>
              </a:solidFill>
            </a:endParaRPr>
          </a:p>
        </p:txBody>
      </p:sp>
      <p:sp>
        <p:nvSpPr>
          <p:cNvPr id="25" name="Text Placeholder 10"/>
          <p:cNvSpPr>
            <a:spLocks noGrp="1"/>
          </p:cNvSpPr>
          <p:nvPr userDrawn="1">
            <p:ph type="body" sz="quarter" idx="21"/>
          </p:nvPr>
        </p:nvSpPr>
        <p:spPr bwMode="gray">
          <a:xfrm>
            <a:off x="4141258" y="3187175"/>
            <a:ext cx="1561857" cy="82128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194337" y="1557337"/>
            <a:ext cx="3599941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194337" y="4148137"/>
            <a:ext cx="3599941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034332" y="1557337"/>
            <a:ext cx="3599941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6034332" y="4148137"/>
            <a:ext cx="3599941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94337" y="1125539"/>
            <a:ext cx="3599941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034332" y="1125539"/>
            <a:ext cx="3599941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194337" y="3716339"/>
            <a:ext cx="3599941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034332" y="3716339"/>
            <a:ext cx="3599941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435552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187987" y="1557337"/>
            <a:ext cx="4608513" cy="45354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5025759" y="1557337"/>
            <a:ext cx="4608513" cy="45354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87987" y="11255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025760" y="11255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8071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187987" y="1557337"/>
            <a:ext cx="4608513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5025759" y="1557337"/>
            <a:ext cx="4608513" cy="1944688"/>
          </a:xfrm>
          <a:solidFill>
            <a:schemeClr val="bg1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187987" y="4148137"/>
            <a:ext cx="4608513" cy="1944688"/>
          </a:xfrm>
          <a:solidFill>
            <a:srgbClr val="BFDEE4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5025759" y="4148137"/>
            <a:ext cx="4608513" cy="1944688"/>
          </a:xfrm>
          <a:solidFill>
            <a:srgbClr val="BFDEE4"/>
          </a:solidFill>
          <a:ln w="12700">
            <a:solidFill>
              <a:srgbClr val="409DAD"/>
            </a:solidFill>
          </a:ln>
        </p:spPr>
        <p:txBody>
          <a:bodyPr lIns="54000" tIns="54000" rIns="54000" bIns="54000"/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187987" y="11255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5025760" y="11255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187987" y="37163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025760" y="3716339"/>
            <a:ext cx="4608513" cy="359817"/>
          </a:xfrm>
          <a:solidFill>
            <a:srgbClr val="409DAD"/>
          </a:solidFill>
          <a:ln w="12700">
            <a:solidFill>
              <a:srgbClr val="409DA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4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83785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hart Placeholder 31"/>
          <p:cNvSpPr>
            <a:spLocks noGrp="1"/>
          </p:cNvSpPr>
          <p:nvPr>
            <p:ph type="chart" sz="quarter" idx="22"/>
          </p:nvPr>
        </p:nvSpPr>
        <p:spPr bwMode="gray">
          <a:xfrm>
            <a:off x="3436954" y="1125538"/>
            <a:ext cx="2951758" cy="2376488"/>
          </a:xfr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6682813" y="3716339"/>
            <a:ext cx="2950138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32" name="Chart Placeholder 31"/>
          <p:cNvSpPr>
            <a:spLocks noGrp="1"/>
          </p:cNvSpPr>
          <p:nvPr>
            <p:ph type="chart" sz="quarter" idx="21"/>
          </p:nvPr>
        </p:nvSpPr>
        <p:spPr bwMode="gray">
          <a:xfrm>
            <a:off x="6681192" y="1125538"/>
            <a:ext cx="2951758" cy="2376488"/>
          </a:xfr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3" name="Table Placeholder 12"/>
          <p:cNvSpPr>
            <a:spLocks noGrp="1"/>
          </p:cNvSpPr>
          <p:nvPr>
            <p:ph type="tbl" sz="quarter" idx="14"/>
          </p:nvPr>
        </p:nvSpPr>
        <p:spPr bwMode="gray">
          <a:xfrm>
            <a:off x="194337" y="1125538"/>
            <a:ext cx="2950138" cy="2376488"/>
          </a:xfrm>
        </p:spPr>
        <p:txBody>
          <a:bodyPr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194337" y="3716339"/>
            <a:ext cx="2950138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3436954" y="3716339"/>
            <a:ext cx="2950138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362998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 userDrawn="1"/>
        </p:nvGrpSpPr>
        <p:grpSpPr bwMode="gray">
          <a:xfrm>
            <a:off x="0" y="1"/>
            <a:ext cx="9906000" cy="6858001"/>
            <a:chOff x="0" y="0"/>
            <a:chExt cx="9144000" cy="6858001"/>
          </a:xfrm>
        </p:grpSpPr>
        <p:sp>
          <p:nvSpPr>
            <p:cNvPr id="6" name="Freeform 6"/>
            <p:cNvSpPr>
              <a:spLocks/>
            </p:cNvSpPr>
            <p:nvPr userDrawn="1"/>
          </p:nvSpPr>
          <p:spPr bwMode="gray">
            <a:xfrm>
              <a:off x="3397250" y="1116013"/>
              <a:ext cx="5746750" cy="5741988"/>
            </a:xfrm>
            <a:custGeom>
              <a:avLst/>
              <a:gdLst/>
              <a:ahLst/>
              <a:cxnLst>
                <a:cxn ang="0">
                  <a:pos x="0" y="3617"/>
                </a:cxn>
                <a:cxn ang="0">
                  <a:pos x="2549" y="3617"/>
                </a:cxn>
                <a:cxn ang="0">
                  <a:pos x="3620" y="0"/>
                </a:cxn>
                <a:cxn ang="0">
                  <a:pos x="1072" y="0"/>
                </a:cxn>
                <a:cxn ang="0">
                  <a:pos x="0" y="3617"/>
                </a:cxn>
              </a:cxnLst>
              <a:rect l="0" t="0" r="r" b="b"/>
              <a:pathLst>
                <a:path w="3620" h="3617">
                  <a:moveTo>
                    <a:pt x="0" y="3617"/>
                  </a:moveTo>
                  <a:lnTo>
                    <a:pt x="2549" y="3617"/>
                  </a:lnTo>
                  <a:lnTo>
                    <a:pt x="3620" y="0"/>
                  </a:lnTo>
                  <a:lnTo>
                    <a:pt x="1072" y="0"/>
                  </a:lnTo>
                  <a:lnTo>
                    <a:pt x="0" y="3617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7007225" y="6116638"/>
              <a:ext cx="2136775" cy="741363"/>
            </a:xfrm>
            <a:custGeom>
              <a:avLst/>
              <a:gdLst/>
              <a:ahLst/>
              <a:cxnLst>
                <a:cxn ang="0">
                  <a:pos x="0" y="467"/>
                </a:cxn>
                <a:cxn ang="0">
                  <a:pos x="1208" y="467"/>
                </a:cxn>
                <a:cxn ang="0">
                  <a:pos x="1346" y="0"/>
                </a:cxn>
                <a:cxn ang="0">
                  <a:pos x="138" y="0"/>
                </a:cxn>
                <a:cxn ang="0">
                  <a:pos x="0" y="467"/>
                </a:cxn>
              </a:cxnLst>
              <a:rect l="0" t="0" r="r" b="b"/>
              <a:pathLst>
                <a:path w="1346" h="467">
                  <a:moveTo>
                    <a:pt x="0" y="467"/>
                  </a:moveTo>
                  <a:lnTo>
                    <a:pt x="1208" y="467"/>
                  </a:lnTo>
                  <a:lnTo>
                    <a:pt x="1346" y="0"/>
                  </a:lnTo>
                  <a:lnTo>
                    <a:pt x="138" y="0"/>
                  </a:lnTo>
                  <a:lnTo>
                    <a:pt x="0" y="467"/>
                  </a:lnTo>
                  <a:close/>
                </a:path>
              </a:pathLst>
            </a:custGeom>
            <a:solidFill>
              <a:srgbClr val="00B0F0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gray">
            <a:xfrm>
              <a:off x="1241425" y="4743450"/>
              <a:ext cx="2530475" cy="2114550"/>
            </a:xfrm>
            <a:custGeom>
              <a:avLst/>
              <a:gdLst/>
              <a:ahLst/>
              <a:cxnLst>
                <a:cxn ang="0">
                  <a:pos x="395" y="0"/>
                </a:cxn>
                <a:cxn ang="0">
                  <a:pos x="0" y="1332"/>
                </a:cxn>
                <a:cxn ang="0">
                  <a:pos x="1199" y="1332"/>
                </a:cxn>
                <a:cxn ang="0">
                  <a:pos x="1594" y="0"/>
                </a:cxn>
                <a:cxn ang="0">
                  <a:pos x="395" y="0"/>
                </a:cxn>
              </a:cxnLst>
              <a:rect l="0" t="0" r="r" b="b"/>
              <a:pathLst>
                <a:path w="1594" h="1332">
                  <a:moveTo>
                    <a:pt x="395" y="0"/>
                  </a:moveTo>
                  <a:lnTo>
                    <a:pt x="0" y="1332"/>
                  </a:lnTo>
                  <a:lnTo>
                    <a:pt x="1199" y="1332"/>
                  </a:lnTo>
                  <a:lnTo>
                    <a:pt x="1594" y="0"/>
                  </a:lnTo>
                  <a:lnTo>
                    <a:pt x="395" y="0"/>
                  </a:lnTo>
                  <a:close/>
                </a:path>
              </a:pathLst>
            </a:custGeom>
            <a:solidFill>
              <a:srgbClr val="8099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gray">
            <a:xfrm>
              <a:off x="1554163" y="0"/>
              <a:ext cx="4738688" cy="2343150"/>
            </a:xfrm>
            <a:custGeom>
              <a:avLst/>
              <a:gdLst/>
              <a:ahLst/>
              <a:cxnLst>
                <a:cxn ang="0">
                  <a:pos x="2548" y="1476"/>
                </a:cxn>
                <a:cxn ang="0">
                  <a:pos x="2985" y="0"/>
                </a:cxn>
                <a:cxn ang="0">
                  <a:pos x="437" y="0"/>
                </a:cxn>
                <a:cxn ang="0">
                  <a:pos x="0" y="1476"/>
                </a:cxn>
                <a:cxn ang="0">
                  <a:pos x="2548" y="1476"/>
                </a:cxn>
              </a:cxnLst>
              <a:rect l="0" t="0" r="r" b="b"/>
              <a:pathLst>
                <a:path w="2985" h="1476">
                  <a:moveTo>
                    <a:pt x="2548" y="1476"/>
                  </a:moveTo>
                  <a:lnTo>
                    <a:pt x="2985" y="0"/>
                  </a:lnTo>
                  <a:lnTo>
                    <a:pt x="437" y="0"/>
                  </a:lnTo>
                  <a:lnTo>
                    <a:pt x="0" y="1476"/>
                  </a:lnTo>
                  <a:lnTo>
                    <a:pt x="2548" y="147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gray">
            <a:xfrm>
              <a:off x="0" y="0"/>
              <a:ext cx="3898900" cy="5630863"/>
            </a:xfrm>
            <a:custGeom>
              <a:avLst/>
              <a:gdLst/>
              <a:ahLst/>
              <a:cxnLst>
                <a:cxn ang="0">
                  <a:pos x="2456" y="0"/>
                </a:cxn>
                <a:cxn ang="0">
                  <a:pos x="0" y="0"/>
                </a:cxn>
                <a:cxn ang="0">
                  <a:pos x="0" y="3547"/>
                </a:cxn>
                <a:cxn ang="0">
                  <a:pos x="1405" y="3547"/>
                </a:cxn>
                <a:cxn ang="0">
                  <a:pos x="2456" y="0"/>
                </a:cxn>
              </a:cxnLst>
              <a:rect l="0" t="0" r="r" b="b"/>
              <a:pathLst>
                <a:path w="2456" h="3547">
                  <a:moveTo>
                    <a:pt x="2456" y="0"/>
                  </a:moveTo>
                  <a:lnTo>
                    <a:pt x="0" y="0"/>
                  </a:lnTo>
                  <a:lnTo>
                    <a:pt x="0" y="3547"/>
                  </a:lnTo>
                  <a:lnTo>
                    <a:pt x="1405" y="3547"/>
                  </a:lnTo>
                  <a:lnTo>
                    <a:pt x="2456" y="0"/>
                  </a:lnTo>
                  <a:close/>
                </a:path>
              </a:pathLst>
            </a:custGeom>
            <a:solidFill>
              <a:srgbClr val="BFCCE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gray">
            <a:xfrm>
              <a:off x="0" y="2343150"/>
              <a:ext cx="1554163" cy="45148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44"/>
                </a:cxn>
                <a:cxn ang="0">
                  <a:pos x="137" y="2844"/>
                </a:cxn>
                <a:cxn ang="0">
                  <a:pos x="979" y="0"/>
                </a:cxn>
                <a:cxn ang="0">
                  <a:pos x="0" y="0"/>
                </a:cxn>
              </a:cxnLst>
              <a:rect l="0" t="0" r="r" b="b"/>
              <a:pathLst>
                <a:path w="979" h="2844">
                  <a:moveTo>
                    <a:pt x="0" y="0"/>
                  </a:moveTo>
                  <a:lnTo>
                    <a:pt x="0" y="2844"/>
                  </a:lnTo>
                  <a:lnTo>
                    <a:pt x="137" y="2844"/>
                  </a:lnTo>
                  <a:lnTo>
                    <a:pt x="9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AF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gray">
            <a:xfrm>
              <a:off x="7007225" y="6116638"/>
              <a:ext cx="655638" cy="741363"/>
            </a:xfrm>
            <a:custGeom>
              <a:avLst/>
              <a:gdLst/>
              <a:ahLst/>
              <a:cxnLst>
                <a:cxn ang="0">
                  <a:pos x="413" y="0"/>
                </a:cxn>
                <a:cxn ang="0">
                  <a:pos x="138" y="0"/>
                </a:cxn>
                <a:cxn ang="0">
                  <a:pos x="0" y="467"/>
                </a:cxn>
                <a:cxn ang="0">
                  <a:pos x="275" y="467"/>
                </a:cxn>
                <a:cxn ang="0">
                  <a:pos x="413" y="0"/>
                </a:cxn>
              </a:cxnLst>
              <a:rect l="0" t="0" r="r" b="b"/>
              <a:pathLst>
                <a:path w="413" h="467">
                  <a:moveTo>
                    <a:pt x="413" y="0"/>
                  </a:moveTo>
                  <a:lnTo>
                    <a:pt x="138" y="0"/>
                  </a:lnTo>
                  <a:lnTo>
                    <a:pt x="0" y="467"/>
                  </a:lnTo>
                  <a:lnTo>
                    <a:pt x="275" y="467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rgbClr val="00338D">
                <a:alpha val="95000"/>
              </a:srgb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3"/>
            <p:cNvSpPr>
              <a:spLocks/>
            </p:cNvSpPr>
            <p:nvPr userDrawn="1"/>
          </p:nvSpPr>
          <p:spPr bwMode="gray">
            <a:xfrm>
              <a:off x="4735513" y="1116013"/>
              <a:ext cx="1227138" cy="1227138"/>
            </a:xfrm>
            <a:custGeom>
              <a:avLst/>
              <a:gdLst/>
              <a:ahLst/>
              <a:cxnLst>
                <a:cxn ang="0">
                  <a:pos x="773" y="0"/>
                </a:cxn>
                <a:cxn ang="0">
                  <a:pos x="229" y="0"/>
                </a:cxn>
                <a:cxn ang="0">
                  <a:pos x="0" y="773"/>
                </a:cxn>
                <a:cxn ang="0">
                  <a:pos x="544" y="773"/>
                </a:cxn>
                <a:cxn ang="0">
                  <a:pos x="773" y="0"/>
                </a:cxn>
              </a:cxnLst>
              <a:rect l="0" t="0" r="r" b="b"/>
              <a:pathLst>
                <a:path w="773" h="773">
                  <a:moveTo>
                    <a:pt x="773" y="0"/>
                  </a:moveTo>
                  <a:lnTo>
                    <a:pt x="229" y="0"/>
                  </a:lnTo>
                  <a:lnTo>
                    <a:pt x="0" y="773"/>
                  </a:lnTo>
                  <a:lnTo>
                    <a:pt x="544" y="773"/>
                  </a:lnTo>
                  <a:lnTo>
                    <a:pt x="773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 userDrawn="1"/>
          </p:nvSpPr>
          <p:spPr bwMode="gray">
            <a:xfrm>
              <a:off x="1604963" y="4743450"/>
              <a:ext cx="889000" cy="887413"/>
            </a:xfrm>
            <a:custGeom>
              <a:avLst/>
              <a:gdLst/>
              <a:ahLst/>
              <a:cxnLst>
                <a:cxn ang="0">
                  <a:pos x="0" y="559"/>
                </a:cxn>
                <a:cxn ang="0">
                  <a:pos x="394" y="559"/>
                </a:cxn>
                <a:cxn ang="0">
                  <a:pos x="560" y="0"/>
                </a:cxn>
                <a:cxn ang="0">
                  <a:pos x="166" y="0"/>
                </a:cxn>
                <a:cxn ang="0">
                  <a:pos x="0" y="559"/>
                </a:cxn>
              </a:cxnLst>
              <a:rect l="0" t="0" r="r" b="b"/>
              <a:pathLst>
                <a:path w="560" h="559">
                  <a:moveTo>
                    <a:pt x="0" y="559"/>
                  </a:moveTo>
                  <a:lnTo>
                    <a:pt x="394" y="559"/>
                  </a:lnTo>
                  <a:lnTo>
                    <a:pt x="560" y="0"/>
                  </a:lnTo>
                  <a:lnTo>
                    <a:pt x="166" y="0"/>
                  </a:lnTo>
                  <a:lnTo>
                    <a:pt x="0" y="559"/>
                  </a:lnTo>
                  <a:close/>
                </a:path>
              </a:pathLst>
            </a:custGeom>
            <a:solidFill>
              <a:srgbClr val="4066AA">
                <a:alpha val="95000"/>
              </a:srgb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algn="ctr">
                <a:spcBef>
                  <a:spcPct val="50000"/>
                </a:spcBef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gray">
            <a:xfrm>
              <a:off x="1554163" y="0"/>
              <a:ext cx="2344738" cy="2343150"/>
            </a:xfrm>
            <a:custGeom>
              <a:avLst/>
              <a:gdLst/>
              <a:ahLst/>
              <a:cxnLst>
                <a:cxn ang="0">
                  <a:pos x="437" y="0"/>
                </a:cxn>
                <a:cxn ang="0">
                  <a:pos x="0" y="1476"/>
                </a:cxn>
                <a:cxn ang="0">
                  <a:pos x="1040" y="1476"/>
                </a:cxn>
                <a:cxn ang="0">
                  <a:pos x="1477" y="0"/>
                </a:cxn>
                <a:cxn ang="0">
                  <a:pos x="437" y="0"/>
                </a:cxn>
              </a:cxnLst>
              <a:rect l="0" t="0" r="r" b="b"/>
              <a:pathLst>
                <a:path w="1477" h="1476">
                  <a:moveTo>
                    <a:pt x="437" y="0"/>
                  </a:moveTo>
                  <a:lnTo>
                    <a:pt x="0" y="1476"/>
                  </a:lnTo>
                  <a:lnTo>
                    <a:pt x="1040" y="1476"/>
                  </a:lnTo>
                  <a:lnTo>
                    <a:pt x="1477" y="0"/>
                  </a:lnTo>
                  <a:lnTo>
                    <a:pt x="437" y="0"/>
                  </a:lnTo>
                  <a:close/>
                </a:path>
              </a:pathLst>
            </a:custGeom>
            <a:solidFill>
              <a:srgbClr val="4066A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gray">
            <a:xfrm>
              <a:off x="0" y="2343150"/>
              <a:ext cx="1554163" cy="32877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71"/>
                </a:cxn>
                <a:cxn ang="0">
                  <a:pos x="366" y="2071"/>
                </a:cxn>
                <a:cxn ang="0">
                  <a:pos x="979" y="0"/>
                </a:cxn>
                <a:cxn ang="0">
                  <a:pos x="0" y="0"/>
                </a:cxn>
              </a:cxnLst>
              <a:rect l="0" t="0" r="r" b="b"/>
              <a:pathLst>
                <a:path w="979" h="2071">
                  <a:moveTo>
                    <a:pt x="0" y="0"/>
                  </a:moveTo>
                  <a:lnTo>
                    <a:pt x="0" y="2071"/>
                  </a:lnTo>
                  <a:lnTo>
                    <a:pt x="366" y="2071"/>
                  </a:lnTo>
                  <a:lnTo>
                    <a:pt x="97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99C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" name="Title 7"/>
          <p:cNvSpPr>
            <a:spLocks noGrp="1"/>
          </p:cNvSpPr>
          <p:nvPr userDrawn="1">
            <p:ph type="title"/>
          </p:nvPr>
        </p:nvSpPr>
        <p:spPr bwMode="gray">
          <a:xfrm>
            <a:off x="5343044" y="2708920"/>
            <a:ext cx="3432381" cy="165618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5343393" y="4509121"/>
            <a:ext cx="3041988" cy="108011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63733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11"/>
          <p:cNvSpPr>
            <a:spLocks noChangeAspect="1"/>
          </p:cNvSpPr>
          <p:nvPr userDrawn="1"/>
        </p:nvSpPr>
        <p:spPr bwMode="gray">
          <a:xfrm>
            <a:off x="0" y="0"/>
            <a:ext cx="7014839" cy="6858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9877"/>
              </a:cxn>
              <a:cxn ang="0">
                <a:pos x="19370" y="29877"/>
              </a:cxn>
              <a:cxn ang="0">
                <a:pos x="28205" y="0"/>
              </a:cxn>
              <a:cxn ang="0">
                <a:pos x="0" y="0"/>
              </a:cxn>
            </a:cxnLst>
            <a:rect l="0" t="0" r="r" b="b"/>
            <a:pathLst>
              <a:path w="28205" h="29877">
                <a:moveTo>
                  <a:pt x="0" y="0"/>
                </a:moveTo>
                <a:lnTo>
                  <a:pt x="0" y="29877"/>
                </a:lnTo>
                <a:lnTo>
                  <a:pt x="19370" y="29877"/>
                </a:lnTo>
                <a:lnTo>
                  <a:pt x="28205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50489" y="1340768"/>
            <a:ext cx="5538615" cy="20882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 bwMode="gray">
          <a:xfrm>
            <a:off x="350489" y="3645025"/>
            <a:ext cx="5148572" cy="100811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129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hank You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2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50492" y="1412776"/>
            <a:ext cx="4385282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769" b="1" kern="1200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1.0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одержание Проекта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837" y="2708282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844083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94011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gray">
          <a:xfrm>
            <a:off x="0" y="1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50489" y="1412776"/>
            <a:ext cx="4056451" cy="11521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 bwMode="gray">
          <a:xfrm>
            <a:off x="350837" y="2708276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16351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0" y="4521200"/>
            <a:ext cx="4915165" cy="23368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2503"/>
              </a:cxn>
              <a:cxn ang="0">
                <a:pos x="20575" y="12503"/>
              </a:cxn>
              <a:cxn ang="0">
                <a:pos x="24277" y="0"/>
              </a:cxn>
              <a:cxn ang="0">
                <a:pos x="0" y="0"/>
              </a:cxn>
            </a:cxnLst>
            <a:rect l="0" t="0" r="r" b="b"/>
            <a:pathLst>
              <a:path w="24277" h="12503">
                <a:moveTo>
                  <a:pt x="0" y="0"/>
                </a:moveTo>
                <a:lnTo>
                  <a:pt x="0" y="12503"/>
                </a:lnTo>
                <a:lnTo>
                  <a:pt x="20575" y="12503"/>
                </a:lnTo>
                <a:lnTo>
                  <a:pt x="24277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n-GB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50489" y="4941168"/>
            <a:ext cx="3900433" cy="15841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rgbClr val="00338D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50474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1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xfrm>
            <a:off x="350489" y="1412776"/>
            <a:ext cx="4056451" cy="11521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3000" b="1" kern="120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837" y="2708276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87378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ademark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8"/>
          <p:cNvSpPr>
            <a:spLocks noChangeAspect="1"/>
          </p:cNvSpPr>
          <p:nvPr userDrawn="1"/>
        </p:nvSpPr>
        <p:spPr bwMode="gray">
          <a:xfrm>
            <a:off x="0" y="1"/>
            <a:ext cx="5236766" cy="3217863"/>
          </a:xfrm>
          <a:custGeom>
            <a:avLst/>
            <a:gdLst/>
            <a:ahLst/>
            <a:cxnLst>
              <a:cxn ang="0">
                <a:pos x="13230" y="10963"/>
              </a:cxn>
              <a:cxn ang="0">
                <a:pos x="16471" y="0"/>
              </a:cxn>
              <a:cxn ang="0">
                <a:pos x="0" y="0"/>
              </a:cxn>
              <a:cxn ang="0">
                <a:pos x="0" y="10963"/>
              </a:cxn>
              <a:cxn ang="0">
                <a:pos x="13230" y="10963"/>
              </a:cxn>
            </a:cxnLst>
            <a:rect l="0" t="0" r="r" b="b"/>
            <a:pathLst>
              <a:path w="16471" h="10963">
                <a:moveTo>
                  <a:pt x="13230" y="10963"/>
                </a:moveTo>
                <a:lnTo>
                  <a:pt x="16471" y="0"/>
                </a:lnTo>
                <a:lnTo>
                  <a:pt x="0" y="0"/>
                </a:lnTo>
                <a:lnTo>
                  <a:pt x="0" y="10963"/>
                </a:lnTo>
                <a:lnTo>
                  <a:pt x="13230" y="10963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489" y="3716339"/>
            <a:ext cx="3822425" cy="237648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sz="1200"/>
            </a:lvl2pPr>
            <a:lvl3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200" b="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914400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grpSp>
        <p:nvGrpSpPr>
          <p:cNvPr id="10" name="Group 11"/>
          <p:cNvGrpSpPr>
            <a:grpSpLocks noChangeAspect="1"/>
          </p:cNvGrpSpPr>
          <p:nvPr userDrawn="1"/>
        </p:nvGrpSpPr>
        <p:grpSpPr>
          <a:xfrm>
            <a:off x="139170" y="0"/>
            <a:ext cx="2808420" cy="1530350"/>
            <a:chOff x="-2592388" y="0"/>
            <a:chExt cx="2592388" cy="1530350"/>
          </a:xfrm>
          <a:solidFill>
            <a:schemeClr val="bg1"/>
          </a:solidFill>
        </p:grpSpPr>
        <p:sp>
          <p:nvSpPr>
            <p:cNvPr id="11" name="Freeform 14"/>
            <p:cNvSpPr>
              <a:spLocks noEditPoints="1"/>
            </p:cNvSpPr>
            <p:nvPr userDrawn="1"/>
          </p:nvSpPr>
          <p:spPr bwMode="auto">
            <a:xfrm>
              <a:off x="-2384425" y="393700"/>
              <a:ext cx="2119313" cy="776288"/>
            </a:xfrm>
            <a:custGeom>
              <a:avLst/>
              <a:gdLst/>
              <a:ahLst/>
              <a:cxnLst>
                <a:cxn ang="0">
                  <a:pos x="2851" y="1035"/>
                </a:cxn>
                <a:cxn ang="0">
                  <a:pos x="3588" y="28"/>
                </a:cxn>
                <a:cxn ang="0">
                  <a:pos x="2718" y="826"/>
                </a:cxn>
                <a:cxn ang="0">
                  <a:pos x="1973" y="28"/>
                </a:cxn>
                <a:cxn ang="0">
                  <a:pos x="1663" y="659"/>
                </a:cxn>
                <a:cxn ang="0">
                  <a:pos x="1850" y="28"/>
                </a:cxn>
                <a:cxn ang="0">
                  <a:pos x="1165" y="1000"/>
                </a:cxn>
                <a:cxn ang="0">
                  <a:pos x="1334" y="806"/>
                </a:cxn>
                <a:cxn ang="0">
                  <a:pos x="479" y="1047"/>
                </a:cxn>
                <a:cxn ang="0">
                  <a:pos x="980" y="699"/>
                </a:cxn>
                <a:cxn ang="0">
                  <a:pos x="2747" y="0"/>
                </a:cxn>
                <a:cxn ang="0">
                  <a:pos x="1009" y="0"/>
                </a:cxn>
                <a:cxn ang="0">
                  <a:pos x="665" y="1435"/>
                </a:cxn>
                <a:cxn ang="0">
                  <a:pos x="1150" y="1133"/>
                </a:cxn>
                <a:cxn ang="0">
                  <a:pos x="1980" y="1434"/>
                </a:cxn>
                <a:cxn ang="0">
                  <a:pos x="2963" y="1451"/>
                </a:cxn>
                <a:cxn ang="0">
                  <a:pos x="348" y="2092"/>
                </a:cxn>
                <a:cxn ang="0">
                  <a:pos x="395" y="2104"/>
                </a:cxn>
                <a:cxn ang="0">
                  <a:pos x="880" y="1895"/>
                </a:cxn>
                <a:cxn ang="0">
                  <a:pos x="584" y="1895"/>
                </a:cxn>
                <a:cxn ang="0">
                  <a:pos x="645" y="2088"/>
                </a:cxn>
                <a:cxn ang="0">
                  <a:pos x="813" y="2088"/>
                </a:cxn>
                <a:cxn ang="0">
                  <a:pos x="935" y="1790"/>
                </a:cxn>
                <a:cxn ang="0">
                  <a:pos x="1104" y="1929"/>
                </a:cxn>
                <a:cxn ang="0">
                  <a:pos x="1151" y="1938"/>
                </a:cxn>
                <a:cxn ang="0">
                  <a:pos x="1504" y="2134"/>
                </a:cxn>
                <a:cxn ang="0">
                  <a:pos x="1370" y="2132"/>
                </a:cxn>
                <a:cxn ang="0">
                  <a:pos x="1428" y="1940"/>
                </a:cxn>
                <a:cxn ang="0">
                  <a:pos x="1719" y="1895"/>
                </a:cxn>
                <a:cxn ang="0">
                  <a:pos x="1803" y="2052"/>
                </a:cxn>
                <a:cxn ang="0">
                  <a:pos x="2137" y="1923"/>
                </a:cxn>
                <a:cxn ang="0">
                  <a:pos x="1881" y="2136"/>
                </a:cxn>
                <a:cxn ang="0">
                  <a:pos x="2253" y="2017"/>
                </a:cxn>
                <a:cxn ang="0">
                  <a:pos x="2503" y="1888"/>
                </a:cxn>
                <a:cxn ang="0">
                  <a:pos x="2740" y="2092"/>
                </a:cxn>
                <a:cxn ang="0">
                  <a:pos x="2787" y="2104"/>
                </a:cxn>
                <a:cxn ang="0">
                  <a:pos x="3126" y="2134"/>
                </a:cxn>
                <a:cxn ang="0">
                  <a:pos x="2992" y="2132"/>
                </a:cxn>
                <a:cxn ang="0">
                  <a:pos x="3051" y="1940"/>
                </a:cxn>
                <a:cxn ang="0">
                  <a:pos x="3441" y="1989"/>
                </a:cxn>
                <a:cxn ang="0">
                  <a:pos x="3257" y="1790"/>
                </a:cxn>
                <a:cxn ang="0">
                  <a:pos x="168" y="2120"/>
                </a:cxn>
                <a:cxn ang="0">
                  <a:pos x="3742" y="1935"/>
                </a:cxn>
                <a:cxn ang="0">
                  <a:pos x="3624" y="2110"/>
                </a:cxn>
                <a:cxn ang="0">
                  <a:pos x="3857" y="2017"/>
                </a:cxn>
                <a:cxn ang="0">
                  <a:pos x="4180" y="1894"/>
                </a:cxn>
                <a:cxn ang="0">
                  <a:pos x="4515" y="2136"/>
                </a:cxn>
                <a:cxn ang="0">
                  <a:pos x="4289" y="1939"/>
                </a:cxn>
                <a:cxn ang="0">
                  <a:pos x="4846" y="2010"/>
                </a:cxn>
                <a:cxn ang="0">
                  <a:pos x="4741" y="1935"/>
                </a:cxn>
                <a:cxn ang="0">
                  <a:pos x="4936" y="1789"/>
                </a:cxn>
                <a:cxn ang="0">
                  <a:pos x="5002" y="2021"/>
                </a:cxn>
                <a:cxn ang="0">
                  <a:pos x="5080" y="1988"/>
                </a:cxn>
                <a:cxn ang="0">
                  <a:pos x="5388" y="2136"/>
                </a:cxn>
                <a:cxn ang="0">
                  <a:pos x="5625" y="1893"/>
                </a:cxn>
                <a:cxn ang="0">
                  <a:pos x="5573" y="1790"/>
                </a:cxn>
                <a:cxn ang="0">
                  <a:pos x="5710" y="1848"/>
                </a:cxn>
                <a:cxn ang="0">
                  <a:pos x="5786" y="2086"/>
                </a:cxn>
                <a:cxn ang="0">
                  <a:pos x="5835" y="2229"/>
                </a:cxn>
              </a:cxnLst>
              <a:rect l="0" t="0" r="r" b="b"/>
              <a:pathLst>
                <a:path w="6099" h="2232">
                  <a:moveTo>
                    <a:pt x="3588" y="1105"/>
                  </a:moveTo>
                  <a:cubicBezTo>
                    <a:pt x="3401" y="1105"/>
                    <a:pt x="3401" y="1105"/>
                    <a:pt x="3401" y="1105"/>
                  </a:cubicBezTo>
                  <a:cubicBezTo>
                    <a:pt x="3431" y="981"/>
                    <a:pt x="3431" y="981"/>
                    <a:pt x="3431" y="981"/>
                  </a:cubicBezTo>
                  <a:cubicBezTo>
                    <a:pt x="3055" y="981"/>
                    <a:pt x="3055" y="981"/>
                    <a:pt x="3055" y="981"/>
                  </a:cubicBezTo>
                  <a:cubicBezTo>
                    <a:pt x="3024" y="1105"/>
                    <a:pt x="3024" y="1105"/>
                    <a:pt x="3024" y="1105"/>
                  </a:cubicBezTo>
                  <a:cubicBezTo>
                    <a:pt x="2843" y="1105"/>
                    <a:pt x="2843" y="1105"/>
                    <a:pt x="2843" y="1105"/>
                  </a:cubicBezTo>
                  <a:cubicBezTo>
                    <a:pt x="2843" y="1079"/>
                    <a:pt x="2843" y="1079"/>
                    <a:pt x="2843" y="1079"/>
                  </a:cubicBezTo>
                  <a:cubicBezTo>
                    <a:pt x="2845" y="1065"/>
                    <a:pt x="2848" y="1051"/>
                    <a:pt x="2851" y="1035"/>
                  </a:cubicBezTo>
                  <a:cubicBezTo>
                    <a:pt x="2884" y="901"/>
                    <a:pt x="2972" y="769"/>
                    <a:pt x="3124" y="769"/>
                  </a:cubicBezTo>
                  <a:cubicBezTo>
                    <a:pt x="3185" y="769"/>
                    <a:pt x="3244" y="792"/>
                    <a:pt x="3236" y="875"/>
                  </a:cubicBezTo>
                  <a:cubicBezTo>
                    <a:pt x="3460" y="875"/>
                    <a:pt x="3460" y="875"/>
                    <a:pt x="3460" y="875"/>
                  </a:cubicBezTo>
                  <a:cubicBezTo>
                    <a:pt x="3469" y="836"/>
                    <a:pt x="3484" y="770"/>
                    <a:pt x="3441" y="709"/>
                  </a:cubicBezTo>
                  <a:cubicBezTo>
                    <a:pt x="3394" y="643"/>
                    <a:pt x="3298" y="616"/>
                    <a:pt x="3173" y="616"/>
                  </a:cubicBezTo>
                  <a:cubicBezTo>
                    <a:pt x="3084" y="616"/>
                    <a:pt x="2955" y="631"/>
                    <a:pt x="2843" y="704"/>
                  </a:cubicBezTo>
                  <a:cubicBezTo>
                    <a:pt x="2843" y="28"/>
                    <a:pt x="2843" y="28"/>
                    <a:pt x="2843" y="28"/>
                  </a:cubicBezTo>
                  <a:cubicBezTo>
                    <a:pt x="3588" y="28"/>
                    <a:pt x="3588" y="28"/>
                    <a:pt x="3588" y="28"/>
                  </a:cubicBezTo>
                  <a:lnTo>
                    <a:pt x="3588" y="1105"/>
                  </a:lnTo>
                  <a:close/>
                  <a:moveTo>
                    <a:pt x="3148" y="1287"/>
                  </a:moveTo>
                  <a:cubicBezTo>
                    <a:pt x="3106" y="1294"/>
                    <a:pt x="3063" y="1300"/>
                    <a:pt x="3023" y="1300"/>
                  </a:cubicBezTo>
                  <a:cubicBezTo>
                    <a:pt x="2915" y="1300"/>
                    <a:pt x="2840" y="1250"/>
                    <a:pt x="2839" y="1133"/>
                  </a:cubicBezTo>
                  <a:cubicBezTo>
                    <a:pt x="3186" y="1133"/>
                    <a:pt x="3186" y="1133"/>
                    <a:pt x="3186" y="1133"/>
                  </a:cubicBezTo>
                  <a:lnTo>
                    <a:pt x="3148" y="1287"/>
                  </a:lnTo>
                  <a:close/>
                  <a:moveTo>
                    <a:pt x="2718" y="672"/>
                  </a:moveTo>
                  <a:cubicBezTo>
                    <a:pt x="2718" y="826"/>
                    <a:pt x="2718" y="826"/>
                    <a:pt x="2718" y="826"/>
                  </a:cubicBezTo>
                  <a:cubicBezTo>
                    <a:pt x="2666" y="898"/>
                    <a:pt x="2634" y="976"/>
                    <a:pt x="2619" y="1040"/>
                  </a:cubicBezTo>
                  <a:cubicBezTo>
                    <a:pt x="2613" y="1061"/>
                    <a:pt x="2609" y="1083"/>
                    <a:pt x="2607" y="1105"/>
                  </a:cubicBezTo>
                  <a:cubicBezTo>
                    <a:pt x="2497" y="1105"/>
                    <a:pt x="2497" y="1105"/>
                    <a:pt x="2497" y="1105"/>
                  </a:cubicBezTo>
                  <a:cubicBezTo>
                    <a:pt x="2591" y="660"/>
                    <a:pt x="2591" y="660"/>
                    <a:pt x="2591" y="660"/>
                  </a:cubicBezTo>
                  <a:cubicBezTo>
                    <a:pt x="2276" y="660"/>
                    <a:pt x="2276" y="660"/>
                    <a:pt x="2276" y="660"/>
                  </a:cubicBezTo>
                  <a:cubicBezTo>
                    <a:pt x="1993" y="1105"/>
                    <a:pt x="1993" y="1105"/>
                    <a:pt x="1993" y="1105"/>
                  </a:cubicBezTo>
                  <a:cubicBezTo>
                    <a:pt x="1973" y="1105"/>
                    <a:pt x="1973" y="1105"/>
                    <a:pt x="1973" y="1105"/>
                  </a:cubicBezTo>
                  <a:cubicBezTo>
                    <a:pt x="1973" y="28"/>
                    <a:pt x="1973" y="28"/>
                    <a:pt x="1973" y="28"/>
                  </a:cubicBezTo>
                  <a:cubicBezTo>
                    <a:pt x="2718" y="28"/>
                    <a:pt x="2718" y="28"/>
                    <a:pt x="2718" y="28"/>
                  </a:cubicBezTo>
                  <a:lnTo>
                    <a:pt x="2718" y="672"/>
                  </a:lnTo>
                  <a:close/>
                  <a:moveTo>
                    <a:pt x="2302" y="1105"/>
                  </a:moveTo>
                  <a:cubicBezTo>
                    <a:pt x="2190" y="1105"/>
                    <a:pt x="2190" y="1105"/>
                    <a:pt x="2190" y="1105"/>
                  </a:cubicBezTo>
                  <a:cubicBezTo>
                    <a:pt x="2360" y="838"/>
                    <a:pt x="2360" y="838"/>
                    <a:pt x="2360" y="838"/>
                  </a:cubicBezTo>
                  <a:lnTo>
                    <a:pt x="2302" y="1105"/>
                  </a:lnTo>
                  <a:close/>
                  <a:moveTo>
                    <a:pt x="1850" y="659"/>
                  </a:moveTo>
                  <a:cubicBezTo>
                    <a:pt x="1663" y="659"/>
                    <a:pt x="1663" y="659"/>
                    <a:pt x="1663" y="659"/>
                  </a:cubicBezTo>
                  <a:cubicBezTo>
                    <a:pt x="1535" y="1105"/>
                    <a:pt x="1535" y="1105"/>
                    <a:pt x="1535" y="1105"/>
                  </a:cubicBezTo>
                  <a:cubicBezTo>
                    <a:pt x="1337" y="1105"/>
                    <a:pt x="1337" y="1105"/>
                    <a:pt x="1337" y="1105"/>
                  </a:cubicBezTo>
                  <a:cubicBezTo>
                    <a:pt x="1438" y="1068"/>
                    <a:pt x="1499" y="996"/>
                    <a:pt x="1518" y="890"/>
                  </a:cubicBezTo>
                  <a:cubicBezTo>
                    <a:pt x="1534" y="809"/>
                    <a:pt x="1527" y="755"/>
                    <a:pt x="1493" y="714"/>
                  </a:cubicBezTo>
                  <a:cubicBezTo>
                    <a:pt x="1443" y="654"/>
                    <a:pt x="1342" y="659"/>
                    <a:pt x="1253" y="659"/>
                  </a:cubicBezTo>
                  <a:cubicBezTo>
                    <a:pt x="1237" y="659"/>
                    <a:pt x="1105" y="659"/>
                    <a:pt x="1105" y="659"/>
                  </a:cubicBezTo>
                  <a:cubicBezTo>
                    <a:pt x="1105" y="28"/>
                    <a:pt x="1105" y="28"/>
                    <a:pt x="1105" y="28"/>
                  </a:cubicBezTo>
                  <a:cubicBezTo>
                    <a:pt x="1850" y="28"/>
                    <a:pt x="1850" y="28"/>
                    <a:pt x="1850" y="28"/>
                  </a:cubicBezTo>
                  <a:lnTo>
                    <a:pt x="1850" y="659"/>
                  </a:lnTo>
                  <a:close/>
                  <a:moveTo>
                    <a:pt x="1730" y="1105"/>
                  </a:moveTo>
                  <a:cubicBezTo>
                    <a:pt x="1809" y="826"/>
                    <a:pt x="1809" y="826"/>
                    <a:pt x="1809" y="826"/>
                  </a:cubicBezTo>
                  <a:cubicBezTo>
                    <a:pt x="1812" y="1105"/>
                    <a:pt x="1812" y="1105"/>
                    <a:pt x="1812" y="1105"/>
                  </a:cubicBezTo>
                  <a:lnTo>
                    <a:pt x="1730" y="1105"/>
                  </a:lnTo>
                  <a:close/>
                  <a:moveTo>
                    <a:pt x="1188" y="999"/>
                  </a:moveTo>
                  <a:cubicBezTo>
                    <a:pt x="1187" y="999"/>
                    <a:pt x="1187" y="999"/>
                    <a:pt x="1187" y="999"/>
                  </a:cubicBezTo>
                  <a:cubicBezTo>
                    <a:pt x="1180" y="999"/>
                    <a:pt x="1173" y="1000"/>
                    <a:pt x="1165" y="1000"/>
                  </a:cubicBezTo>
                  <a:cubicBezTo>
                    <a:pt x="1154" y="1000"/>
                    <a:pt x="1145" y="1000"/>
                    <a:pt x="1137" y="1000"/>
                  </a:cubicBezTo>
                  <a:cubicBezTo>
                    <a:pt x="1089" y="1000"/>
                    <a:pt x="1089" y="1000"/>
                    <a:pt x="1089" y="1000"/>
                  </a:cubicBezTo>
                  <a:cubicBezTo>
                    <a:pt x="1111" y="918"/>
                    <a:pt x="1111" y="918"/>
                    <a:pt x="1111" y="918"/>
                  </a:cubicBezTo>
                  <a:cubicBezTo>
                    <a:pt x="1122" y="878"/>
                    <a:pt x="1122" y="878"/>
                    <a:pt x="1122" y="878"/>
                  </a:cubicBezTo>
                  <a:cubicBezTo>
                    <a:pt x="1147" y="783"/>
                    <a:pt x="1147" y="783"/>
                    <a:pt x="1147" y="783"/>
                  </a:cubicBezTo>
                  <a:cubicBezTo>
                    <a:pt x="1158" y="783"/>
                    <a:pt x="1169" y="782"/>
                    <a:pt x="1179" y="782"/>
                  </a:cubicBezTo>
                  <a:cubicBezTo>
                    <a:pt x="1216" y="782"/>
                    <a:pt x="1216" y="782"/>
                    <a:pt x="1216" y="782"/>
                  </a:cubicBezTo>
                  <a:cubicBezTo>
                    <a:pt x="1279" y="782"/>
                    <a:pt x="1319" y="786"/>
                    <a:pt x="1334" y="806"/>
                  </a:cubicBezTo>
                  <a:cubicBezTo>
                    <a:pt x="1345" y="822"/>
                    <a:pt x="1343" y="848"/>
                    <a:pt x="1330" y="888"/>
                  </a:cubicBezTo>
                  <a:cubicBezTo>
                    <a:pt x="1308" y="957"/>
                    <a:pt x="1279" y="992"/>
                    <a:pt x="1188" y="999"/>
                  </a:cubicBezTo>
                  <a:moveTo>
                    <a:pt x="980" y="699"/>
                  </a:moveTo>
                  <a:cubicBezTo>
                    <a:pt x="969" y="737"/>
                    <a:pt x="969" y="737"/>
                    <a:pt x="969" y="737"/>
                  </a:cubicBezTo>
                  <a:cubicBezTo>
                    <a:pt x="862" y="1092"/>
                    <a:pt x="862" y="1092"/>
                    <a:pt x="862" y="1092"/>
                  </a:cubicBezTo>
                  <a:cubicBezTo>
                    <a:pt x="858" y="1105"/>
                    <a:pt x="858" y="1105"/>
                    <a:pt x="858" y="1105"/>
                  </a:cubicBezTo>
                  <a:cubicBezTo>
                    <a:pt x="507" y="1105"/>
                    <a:pt x="507" y="1105"/>
                    <a:pt x="507" y="1105"/>
                  </a:cubicBezTo>
                  <a:cubicBezTo>
                    <a:pt x="479" y="1047"/>
                    <a:pt x="479" y="1047"/>
                    <a:pt x="479" y="1047"/>
                  </a:cubicBezTo>
                  <a:cubicBezTo>
                    <a:pt x="858" y="660"/>
                    <a:pt x="858" y="660"/>
                    <a:pt x="858" y="660"/>
                  </a:cubicBezTo>
                  <a:cubicBezTo>
                    <a:pt x="615" y="660"/>
                    <a:pt x="615" y="660"/>
                    <a:pt x="615" y="660"/>
                  </a:cubicBezTo>
                  <a:cubicBezTo>
                    <a:pt x="319" y="979"/>
                    <a:pt x="319" y="979"/>
                    <a:pt x="319" y="979"/>
                  </a:cubicBezTo>
                  <a:cubicBezTo>
                    <a:pt x="415" y="660"/>
                    <a:pt x="415" y="660"/>
                    <a:pt x="415" y="660"/>
                  </a:cubicBezTo>
                  <a:cubicBezTo>
                    <a:pt x="235" y="660"/>
                    <a:pt x="235" y="660"/>
                    <a:pt x="235" y="660"/>
                  </a:cubicBezTo>
                  <a:cubicBezTo>
                    <a:pt x="235" y="28"/>
                    <a:pt x="235" y="28"/>
                    <a:pt x="235" y="28"/>
                  </a:cubicBezTo>
                  <a:cubicBezTo>
                    <a:pt x="980" y="28"/>
                    <a:pt x="980" y="28"/>
                    <a:pt x="980" y="28"/>
                  </a:cubicBezTo>
                  <a:lnTo>
                    <a:pt x="980" y="699"/>
                  </a:lnTo>
                  <a:close/>
                  <a:moveTo>
                    <a:pt x="281" y="1105"/>
                  </a:moveTo>
                  <a:cubicBezTo>
                    <a:pt x="282" y="1101"/>
                    <a:pt x="282" y="1101"/>
                    <a:pt x="282" y="1101"/>
                  </a:cubicBezTo>
                  <a:cubicBezTo>
                    <a:pt x="285" y="1105"/>
                    <a:pt x="285" y="1105"/>
                    <a:pt x="285" y="1105"/>
                  </a:cubicBezTo>
                  <a:lnTo>
                    <a:pt x="281" y="1105"/>
                  </a:lnTo>
                  <a:close/>
                  <a:moveTo>
                    <a:pt x="2814" y="0"/>
                  </a:moveTo>
                  <a:cubicBezTo>
                    <a:pt x="2814" y="724"/>
                    <a:pt x="2814" y="724"/>
                    <a:pt x="2814" y="724"/>
                  </a:cubicBezTo>
                  <a:cubicBezTo>
                    <a:pt x="2789" y="744"/>
                    <a:pt x="2767" y="765"/>
                    <a:pt x="2747" y="788"/>
                  </a:cubicBezTo>
                  <a:cubicBezTo>
                    <a:pt x="2747" y="0"/>
                    <a:pt x="2747" y="0"/>
                    <a:pt x="2747" y="0"/>
                  </a:cubicBezTo>
                  <a:cubicBezTo>
                    <a:pt x="1945" y="0"/>
                    <a:pt x="1945" y="0"/>
                    <a:pt x="1945" y="0"/>
                  </a:cubicBezTo>
                  <a:cubicBezTo>
                    <a:pt x="1945" y="659"/>
                    <a:pt x="1945" y="659"/>
                    <a:pt x="1945" y="659"/>
                  </a:cubicBezTo>
                  <a:cubicBezTo>
                    <a:pt x="1878" y="659"/>
                    <a:pt x="1878" y="659"/>
                    <a:pt x="1878" y="659"/>
                  </a:cubicBezTo>
                  <a:cubicBezTo>
                    <a:pt x="1878" y="0"/>
                    <a:pt x="1878" y="0"/>
                    <a:pt x="1878" y="0"/>
                  </a:cubicBezTo>
                  <a:cubicBezTo>
                    <a:pt x="1076" y="0"/>
                    <a:pt x="1076" y="0"/>
                    <a:pt x="1076" y="0"/>
                  </a:cubicBezTo>
                  <a:cubicBezTo>
                    <a:pt x="1076" y="660"/>
                    <a:pt x="1076" y="660"/>
                    <a:pt x="1076" y="660"/>
                  </a:cubicBezTo>
                  <a:cubicBezTo>
                    <a:pt x="1009" y="660"/>
                    <a:pt x="1009" y="660"/>
                    <a:pt x="1009" y="660"/>
                  </a:cubicBezTo>
                  <a:cubicBezTo>
                    <a:pt x="1009" y="0"/>
                    <a:pt x="1009" y="0"/>
                    <a:pt x="1009" y="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07" y="753"/>
                    <a:pt x="207" y="753"/>
                    <a:pt x="207" y="753"/>
                  </a:cubicBezTo>
                  <a:cubicBezTo>
                    <a:pt x="2" y="1435"/>
                    <a:pt x="2" y="1435"/>
                    <a:pt x="2" y="1435"/>
                  </a:cubicBezTo>
                  <a:cubicBezTo>
                    <a:pt x="182" y="1435"/>
                    <a:pt x="182" y="1435"/>
                    <a:pt x="182" y="1435"/>
                  </a:cubicBezTo>
                  <a:cubicBezTo>
                    <a:pt x="273" y="1133"/>
                    <a:pt x="273" y="1133"/>
                    <a:pt x="273" y="1133"/>
                  </a:cubicBezTo>
                  <a:cubicBezTo>
                    <a:pt x="299" y="1133"/>
                    <a:pt x="299" y="1133"/>
                    <a:pt x="299" y="1133"/>
                  </a:cubicBezTo>
                  <a:cubicBezTo>
                    <a:pt x="448" y="1435"/>
                    <a:pt x="448" y="1435"/>
                    <a:pt x="448" y="1435"/>
                  </a:cubicBezTo>
                  <a:cubicBezTo>
                    <a:pt x="665" y="1435"/>
                    <a:pt x="665" y="1435"/>
                    <a:pt x="665" y="1435"/>
                  </a:cubicBezTo>
                  <a:cubicBezTo>
                    <a:pt x="520" y="1133"/>
                    <a:pt x="520" y="1133"/>
                    <a:pt x="520" y="1133"/>
                  </a:cubicBezTo>
                  <a:cubicBezTo>
                    <a:pt x="849" y="1133"/>
                    <a:pt x="849" y="1133"/>
                    <a:pt x="849" y="1133"/>
                  </a:cubicBezTo>
                  <a:cubicBezTo>
                    <a:pt x="758" y="1435"/>
                    <a:pt x="758" y="1435"/>
                    <a:pt x="758" y="1435"/>
                  </a:cubicBezTo>
                  <a:cubicBezTo>
                    <a:pt x="955" y="1435"/>
                    <a:pt x="955" y="1435"/>
                    <a:pt x="955" y="1435"/>
                  </a:cubicBezTo>
                  <a:cubicBezTo>
                    <a:pt x="1045" y="1134"/>
                    <a:pt x="1045" y="1134"/>
                    <a:pt x="1045" y="1134"/>
                  </a:cubicBezTo>
                  <a:cubicBezTo>
                    <a:pt x="1088" y="1134"/>
                    <a:pt x="1088" y="1134"/>
                    <a:pt x="1088" y="1134"/>
                  </a:cubicBezTo>
                  <a:cubicBezTo>
                    <a:pt x="1088" y="1133"/>
                    <a:pt x="1088" y="1133"/>
                    <a:pt x="1088" y="1133"/>
                  </a:cubicBezTo>
                  <a:cubicBezTo>
                    <a:pt x="1150" y="1133"/>
                    <a:pt x="1150" y="1133"/>
                    <a:pt x="1150" y="1133"/>
                  </a:cubicBezTo>
                  <a:cubicBezTo>
                    <a:pt x="1155" y="1133"/>
                    <a:pt x="1155" y="1133"/>
                    <a:pt x="1155" y="1133"/>
                  </a:cubicBezTo>
                  <a:cubicBezTo>
                    <a:pt x="1527" y="1133"/>
                    <a:pt x="1527" y="1133"/>
                    <a:pt x="1527" y="1133"/>
                  </a:cubicBezTo>
                  <a:cubicBezTo>
                    <a:pt x="1440" y="1434"/>
                    <a:pt x="1440" y="1434"/>
                    <a:pt x="1440" y="1434"/>
                  </a:cubicBezTo>
                  <a:cubicBezTo>
                    <a:pt x="1638" y="1434"/>
                    <a:pt x="1638" y="1434"/>
                    <a:pt x="1638" y="1434"/>
                  </a:cubicBezTo>
                  <a:cubicBezTo>
                    <a:pt x="1722" y="1133"/>
                    <a:pt x="1722" y="1133"/>
                    <a:pt x="1722" y="1133"/>
                  </a:cubicBezTo>
                  <a:cubicBezTo>
                    <a:pt x="1812" y="1133"/>
                    <a:pt x="1812" y="1133"/>
                    <a:pt x="1812" y="1133"/>
                  </a:cubicBezTo>
                  <a:cubicBezTo>
                    <a:pt x="1814" y="1434"/>
                    <a:pt x="1814" y="1434"/>
                    <a:pt x="1814" y="1434"/>
                  </a:cubicBezTo>
                  <a:cubicBezTo>
                    <a:pt x="1980" y="1434"/>
                    <a:pt x="1980" y="1434"/>
                    <a:pt x="1980" y="1434"/>
                  </a:cubicBezTo>
                  <a:cubicBezTo>
                    <a:pt x="2171" y="1133"/>
                    <a:pt x="2171" y="1133"/>
                    <a:pt x="2171" y="1133"/>
                  </a:cubicBezTo>
                  <a:cubicBezTo>
                    <a:pt x="2296" y="1133"/>
                    <a:pt x="2296" y="1133"/>
                    <a:pt x="2296" y="1133"/>
                  </a:cubicBezTo>
                  <a:cubicBezTo>
                    <a:pt x="2232" y="1434"/>
                    <a:pt x="2232" y="1434"/>
                    <a:pt x="2232" y="1434"/>
                  </a:cubicBezTo>
                  <a:cubicBezTo>
                    <a:pt x="2427" y="1434"/>
                    <a:pt x="2427" y="1434"/>
                    <a:pt x="2427" y="1434"/>
                  </a:cubicBezTo>
                  <a:cubicBezTo>
                    <a:pt x="2491" y="1133"/>
                    <a:pt x="2491" y="1133"/>
                    <a:pt x="2491" y="1133"/>
                  </a:cubicBezTo>
                  <a:cubicBezTo>
                    <a:pt x="2604" y="1133"/>
                    <a:pt x="2604" y="1133"/>
                    <a:pt x="2604" y="1133"/>
                  </a:cubicBezTo>
                  <a:cubicBezTo>
                    <a:pt x="2599" y="1226"/>
                    <a:pt x="2623" y="1311"/>
                    <a:pt x="2685" y="1368"/>
                  </a:cubicBezTo>
                  <a:cubicBezTo>
                    <a:pt x="2761" y="1438"/>
                    <a:pt x="2877" y="1451"/>
                    <a:pt x="2963" y="1451"/>
                  </a:cubicBezTo>
                  <a:cubicBezTo>
                    <a:pt x="3081" y="1451"/>
                    <a:pt x="3203" y="1434"/>
                    <a:pt x="3326" y="1407"/>
                  </a:cubicBezTo>
                  <a:cubicBezTo>
                    <a:pt x="3394" y="1133"/>
                    <a:pt x="3394" y="1133"/>
                    <a:pt x="3394" y="1133"/>
                  </a:cubicBezTo>
                  <a:cubicBezTo>
                    <a:pt x="3617" y="1133"/>
                    <a:pt x="3617" y="1133"/>
                    <a:pt x="3617" y="1133"/>
                  </a:cubicBezTo>
                  <a:cubicBezTo>
                    <a:pt x="3617" y="0"/>
                    <a:pt x="3617" y="0"/>
                    <a:pt x="3617" y="0"/>
                  </a:cubicBezTo>
                  <a:lnTo>
                    <a:pt x="2814" y="0"/>
                  </a:lnTo>
                  <a:close/>
                  <a:moveTo>
                    <a:pt x="351" y="1894"/>
                  </a:moveTo>
                  <a:cubicBezTo>
                    <a:pt x="321" y="2038"/>
                    <a:pt x="321" y="2038"/>
                    <a:pt x="321" y="2038"/>
                  </a:cubicBezTo>
                  <a:cubicBezTo>
                    <a:pt x="316" y="2060"/>
                    <a:pt x="309" y="2092"/>
                    <a:pt x="348" y="2092"/>
                  </a:cubicBezTo>
                  <a:cubicBezTo>
                    <a:pt x="393" y="2092"/>
                    <a:pt x="400" y="2058"/>
                    <a:pt x="409" y="2016"/>
                  </a:cubicBezTo>
                  <a:cubicBezTo>
                    <a:pt x="435" y="1894"/>
                    <a:pt x="435" y="1894"/>
                    <a:pt x="435" y="1894"/>
                  </a:cubicBezTo>
                  <a:cubicBezTo>
                    <a:pt x="508" y="1894"/>
                    <a:pt x="508" y="1894"/>
                    <a:pt x="508" y="1894"/>
                  </a:cubicBezTo>
                  <a:cubicBezTo>
                    <a:pt x="474" y="2053"/>
                    <a:pt x="474" y="2053"/>
                    <a:pt x="474" y="2053"/>
                  </a:cubicBezTo>
                  <a:cubicBezTo>
                    <a:pt x="464" y="2106"/>
                    <a:pt x="463" y="2112"/>
                    <a:pt x="462" y="2118"/>
                  </a:cubicBezTo>
                  <a:cubicBezTo>
                    <a:pt x="461" y="2125"/>
                    <a:pt x="460" y="2130"/>
                    <a:pt x="460" y="2136"/>
                  </a:cubicBezTo>
                  <a:cubicBezTo>
                    <a:pt x="391" y="2136"/>
                    <a:pt x="391" y="2136"/>
                    <a:pt x="391" y="2136"/>
                  </a:cubicBezTo>
                  <a:cubicBezTo>
                    <a:pt x="395" y="2104"/>
                    <a:pt x="395" y="2104"/>
                    <a:pt x="395" y="2104"/>
                  </a:cubicBezTo>
                  <a:cubicBezTo>
                    <a:pt x="386" y="2115"/>
                    <a:pt x="362" y="2143"/>
                    <a:pt x="315" y="2143"/>
                  </a:cubicBezTo>
                  <a:cubicBezTo>
                    <a:pt x="283" y="2143"/>
                    <a:pt x="259" y="2128"/>
                    <a:pt x="250" y="2110"/>
                  </a:cubicBezTo>
                  <a:cubicBezTo>
                    <a:pt x="238" y="2090"/>
                    <a:pt x="245" y="2056"/>
                    <a:pt x="248" y="2045"/>
                  </a:cubicBezTo>
                  <a:cubicBezTo>
                    <a:pt x="279" y="1894"/>
                    <a:pt x="279" y="1894"/>
                    <a:pt x="279" y="1894"/>
                  </a:cubicBezTo>
                  <a:lnTo>
                    <a:pt x="351" y="1894"/>
                  </a:lnTo>
                  <a:close/>
                  <a:moveTo>
                    <a:pt x="812" y="1942"/>
                  </a:moveTo>
                  <a:cubicBezTo>
                    <a:pt x="870" y="1942"/>
                    <a:pt x="870" y="1942"/>
                    <a:pt x="870" y="1942"/>
                  </a:cubicBezTo>
                  <a:cubicBezTo>
                    <a:pt x="880" y="1895"/>
                    <a:pt x="880" y="1895"/>
                    <a:pt x="880" y="1895"/>
                  </a:cubicBezTo>
                  <a:cubicBezTo>
                    <a:pt x="822" y="1895"/>
                    <a:pt x="822" y="1895"/>
                    <a:pt x="822" y="1895"/>
                  </a:cubicBezTo>
                  <a:cubicBezTo>
                    <a:pt x="838" y="1822"/>
                    <a:pt x="838" y="1822"/>
                    <a:pt x="838" y="1822"/>
                  </a:cubicBezTo>
                  <a:cubicBezTo>
                    <a:pt x="762" y="1848"/>
                    <a:pt x="762" y="1848"/>
                    <a:pt x="762" y="1848"/>
                  </a:cubicBezTo>
                  <a:cubicBezTo>
                    <a:pt x="752" y="1895"/>
                    <a:pt x="752" y="1895"/>
                    <a:pt x="752" y="1895"/>
                  </a:cubicBezTo>
                  <a:cubicBezTo>
                    <a:pt x="654" y="1895"/>
                    <a:pt x="654" y="1895"/>
                    <a:pt x="654" y="1895"/>
                  </a:cubicBezTo>
                  <a:cubicBezTo>
                    <a:pt x="670" y="1822"/>
                    <a:pt x="670" y="1822"/>
                    <a:pt x="670" y="1822"/>
                  </a:cubicBezTo>
                  <a:cubicBezTo>
                    <a:pt x="594" y="1848"/>
                    <a:pt x="594" y="1848"/>
                    <a:pt x="594" y="1848"/>
                  </a:cubicBezTo>
                  <a:cubicBezTo>
                    <a:pt x="584" y="1895"/>
                    <a:pt x="584" y="1895"/>
                    <a:pt x="584" y="1895"/>
                  </a:cubicBezTo>
                  <a:cubicBezTo>
                    <a:pt x="537" y="1895"/>
                    <a:pt x="537" y="1895"/>
                    <a:pt x="537" y="1895"/>
                  </a:cubicBezTo>
                  <a:cubicBezTo>
                    <a:pt x="527" y="1942"/>
                    <a:pt x="527" y="1942"/>
                    <a:pt x="527" y="1942"/>
                  </a:cubicBezTo>
                  <a:cubicBezTo>
                    <a:pt x="574" y="1942"/>
                    <a:pt x="574" y="1942"/>
                    <a:pt x="574" y="1942"/>
                  </a:cubicBezTo>
                  <a:cubicBezTo>
                    <a:pt x="545" y="2075"/>
                    <a:pt x="545" y="2075"/>
                    <a:pt x="545" y="2075"/>
                  </a:cubicBezTo>
                  <a:cubicBezTo>
                    <a:pt x="541" y="2095"/>
                    <a:pt x="531" y="2141"/>
                    <a:pt x="603" y="2141"/>
                  </a:cubicBezTo>
                  <a:cubicBezTo>
                    <a:pt x="615" y="2141"/>
                    <a:pt x="636" y="2139"/>
                    <a:pt x="660" y="2133"/>
                  </a:cubicBezTo>
                  <a:cubicBezTo>
                    <a:pt x="670" y="2086"/>
                    <a:pt x="670" y="2086"/>
                    <a:pt x="670" y="2086"/>
                  </a:cubicBezTo>
                  <a:cubicBezTo>
                    <a:pt x="661" y="2087"/>
                    <a:pt x="656" y="2088"/>
                    <a:pt x="645" y="2088"/>
                  </a:cubicBezTo>
                  <a:cubicBezTo>
                    <a:pt x="614" y="2088"/>
                    <a:pt x="617" y="2074"/>
                    <a:pt x="621" y="2052"/>
                  </a:cubicBezTo>
                  <a:cubicBezTo>
                    <a:pt x="645" y="1942"/>
                    <a:pt x="645" y="1942"/>
                    <a:pt x="645" y="1942"/>
                  </a:cubicBezTo>
                  <a:cubicBezTo>
                    <a:pt x="741" y="1942"/>
                    <a:pt x="741" y="1942"/>
                    <a:pt x="741" y="1942"/>
                  </a:cubicBezTo>
                  <a:cubicBezTo>
                    <a:pt x="713" y="2075"/>
                    <a:pt x="713" y="2075"/>
                    <a:pt x="713" y="2075"/>
                  </a:cubicBezTo>
                  <a:cubicBezTo>
                    <a:pt x="709" y="2095"/>
                    <a:pt x="699" y="2141"/>
                    <a:pt x="771" y="2141"/>
                  </a:cubicBezTo>
                  <a:cubicBezTo>
                    <a:pt x="782" y="2141"/>
                    <a:pt x="804" y="2139"/>
                    <a:pt x="828" y="2133"/>
                  </a:cubicBezTo>
                  <a:cubicBezTo>
                    <a:pt x="838" y="2086"/>
                    <a:pt x="838" y="2086"/>
                    <a:pt x="838" y="2086"/>
                  </a:cubicBezTo>
                  <a:cubicBezTo>
                    <a:pt x="829" y="2087"/>
                    <a:pt x="824" y="2088"/>
                    <a:pt x="813" y="2088"/>
                  </a:cubicBezTo>
                  <a:cubicBezTo>
                    <a:pt x="781" y="2088"/>
                    <a:pt x="785" y="2074"/>
                    <a:pt x="788" y="2052"/>
                  </a:cubicBezTo>
                  <a:lnTo>
                    <a:pt x="812" y="1942"/>
                  </a:lnTo>
                  <a:close/>
                  <a:moveTo>
                    <a:pt x="916" y="1893"/>
                  </a:moveTo>
                  <a:cubicBezTo>
                    <a:pt x="987" y="1893"/>
                    <a:pt x="987" y="1893"/>
                    <a:pt x="987" y="1893"/>
                  </a:cubicBezTo>
                  <a:cubicBezTo>
                    <a:pt x="935" y="2136"/>
                    <a:pt x="935" y="2136"/>
                    <a:pt x="935" y="2136"/>
                  </a:cubicBezTo>
                  <a:cubicBezTo>
                    <a:pt x="864" y="2136"/>
                    <a:pt x="864" y="2136"/>
                    <a:pt x="864" y="2136"/>
                  </a:cubicBezTo>
                  <a:lnTo>
                    <a:pt x="916" y="1893"/>
                  </a:lnTo>
                  <a:close/>
                  <a:moveTo>
                    <a:pt x="935" y="1790"/>
                  </a:moveTo>
                  <a:cubicBezTo>
                    <a:pt x="1011" y="1790"/>
                    <a:pt x="1011" y="1790"/>
                    <a:pt x="1011" y="1790"/>
                  </a:cubicBezTo>
                  <a:cubicBezTo>
                    <a:pt x="998" y="1851"/>
                    <a:pt x="998" y="1851"/>
                    <a:pt x="998" y="1851"/>
                  </a:cubicBezTo>
                  <a:cubicBezTo>
                    <a:pt x="922" y="1851"/>
                    <a:pt x="922" y="1851"/>
                    <a:pt x="922" y="1851"/>
                  </a:cubicBezTo>
                  <a:lnTo>
                    <a:pt x="935" y="1790"/>
                  </a:lnTo>
                  <a:close/>
                  <a:moveTo>
                    <a:pt x="1034" y="1937"/>
                  </a:moveTo>
                  <a:cubicBezTo>
                    <a:pt x="1034" y="1936"/>
                    <a:pt x="1040" y="1909"/>
                    <a:pt x="1042" y="1893"/>
                  </a:cubicBezTo>
                  <a:cubicBezTo>
                    <a:pt x="1110" y="1893"/>
                    <a:pt x="1110" y="1893"/>
                    <a:pt x="1110" y="1893"/>
                  </a:cubicBezTo>
                  <a:cubicBezTo>
                    <a:pt x="1104" y="1929"/>
                    <a:pt x="1104" y="1929"/>
                    <a:pt x="1104" y="1929"/>
                  </a:cubicBezTo>
                  <a:cubicBezTo>
                    <a:pt x="1113" y="1918"/>
                    <a:pt x="1139" y="1887"/>
                    <a:pt x="1192" y="1887"/>
                  </a:cubicBezTo>
                  <a:cubicBezTo>
                    <a:pt x="1239" y="1887"/>
                    <a:pt x="1254" y="1916"/>
                    <a:pt x="1256" y="1933"/>
                  </a:cubicBezTo>
                  <a:cubicBezTo>
                    <a:pt x="1259" y="1948"/>
                    <a:pt x="1257" y="1960"/>
                    <a:pt x="1248" y="2005"/>
                  </a:cubicBezTo>
                  <a:cubicBezTo>
                    <a:pt x="1220" y="2136"/>
                    <a:pt x="1220" y="2136"/>
                    <a:pt x="1220" y="2136"/>
                  </a:cubicBezTo>
                  <a:cubicBezTo>
                    <a:pt x="1147" y="2136"/>
                    <a:pt x="1147" y="2136"/>
                    <a:pt x="1147" y="2136"/>
                  </a:cubicBezTo>
                  <a:cubicBezTo>
                    <a:pt x="1179" y="1985"/>
                    <a:pt x="1179" y="1985"/>
                    <a:pt x="1179" y="1985"/>
                  </a:cubicBezTo>
                  <a:cubicBezTo>
                    <a:pt x="1181" y="1975"/>
                    <a:pt x="1183" y="1967"/>
                    <a:pt x="1181" y="1959"/>
                  </a:cubicBezTo>
                  <a:cubicBezTo>
                    <a:pt x="1178" y="1949"/>
                    <a:pt x="1169" y="1938"/>
                    <a:pt x="1151" y="1938"/>
                  </a:cubicBezTo>
                  <a:cubicBezTo>
                    <a:pt x="1136" y="1938"/>
                    <a:pt x="1120" y="1946"/>
                    <a:pt x="1110" y="1957"/>
                  </a:cubicBezTo>
                  <a:cubicBezTo>
                    <a:pt x="1104" y="1963"/>
                    <a:pt x="1097" y="1975"/>
                    <a:pt x="1093" y="1994"/>
                  </a:cubicBezTo>
                  <a:cubicBezTo>
                    <a:pt x="1063" y="2136"/>
                    <a:pt x="1063" y="2136"/>
                    <a:pt x="1063" y="2136"/>
                  </a:cubicBezTo>
                  <a:cubicBezTo>
                    <a:pt x="992" y="2136"/>
                    <a:pt x="992" y="2136"/>
                    <a:pt x="992" y="2136"/>
                  </a:cubicBezTo>
                  <a:lnTo>
                    <a:pt x="1034" y="1937"/>
                  </a:lnTo>
                  <a:close/>
                  <a:moveTo>
                    <a:pt x="1558" y="1895"/>
                  </a:moveTo>
                  <a:cubicBezTo>
                    <a:pt x="1552" y="1914"/>
                    <a:pt x="1547" y="1930"/>
                    <a:pt x="1542" y="1955"/>
                  </a:cubicBezTo>
                  <a:cubicBezTo>
                    <a:pt x="1504" y="2134"/>
                    <a:pt x="1504" y="2134"/>
                    <a:pt x="1504" y="2134"/>
                  </a:cubicBezTo>
                  <a:cubicBezTo>
                    <a:pt x="1486" y="2223"/>
                    <a:pt x="1409" y="2232"/>
                    <a:pt x="1363" y="2232"/>
                  </a:cubicBezTo>
                  <a:cubicBezTo>
                    <a:pt x="1328" y="2232"/>
                    <a:pt x="1261" y="2228"/>
                    <a:pt x="1272" y="2154"/>
                  </a:cubicBezTo>
                  <a:cubicBezTo>
                    <a:pt x="1340" y="2154"/>
                    <a:pt x="1340" y="2154"/>
                    <a:pt x="1340" y="2154"/>
                  </a:cubicBezTo>
                  <a:cubicBezTo>
                    <a:pt x="1340" y="2158"/>
                    <a:pt x="1339" y="2166"/>
                    <a:pt x="1344" y="2174"/>
                  </a:cubicBezTo>
                  <a:cubicBezTo>
                    <a:pt x="1348" y="2181"/>
                    <a:pt x="1357" y="2188"/>
                    <a:pt x="1375" y="2188"/>
                  </a:cubicBezTo>
                  <a:cubicBezTo>
                    <a:pt x="1397" y="2188"/>
                    <a:pt x="1417" y="2178"/>
                    <a:pt x="1427" y="2156"/>
                  </a:cubicBezTo>
                  <a:cubicBezTo>
                    <a:pt x="1432" y="2144"/>
                    <a:pt x="1434" y="2135"/>
                    <a:pt x="1442" y="2099"/>
                  </a:cubicBezTo>
                  <a:cubicBezTo>
                    <a:pt x="1413" y="2128"/>
                    <a:pt x="1387" y="2132"/>
                    <a:pt x="1370" y="2132"/>
                  </a:cubicBezTo>
                  <a:cubicBezTo>
                    <a:pt x="1300" y="2132"/>
                    <a:pt x="1280" y="2071"/>
                    <a:pt x="1293" y="2012"/>
                  </a:cubicBezTo>
                  <a:cubicBezTo>
                    <a:pt x="1306" y="1951"/>
                    <a:pt x="1352" y="1892"/>
                    <a:pt x="1422" y="1892"/>
                  </a:cubicBezTo>
                  <a:cubicBezTo>
                    <a:pt x="1466" y="1892"/>
                    <a:pt x="1477" y="1916"/>
                    <a:pt x="1482" y="1927"/>
                  </a:cubicBezTo>
                  <a:cubicBezTo>
                    <a:pt x="1492" y="1895"/>
                    <a:pt x="1492" y="1895"/>
                    <a:pt x="1492" y="1895"/>
                  </a:cubicBezTo>
                  <a:lnTo>
                    <a:pt x="1558" y="1895"/>
                  </a:lnTo>
                  <a:close/>
                  <a:moveTo>
                    <a:pt x="1397" y="2083"/>
                  </a:moveTo>
                  <a:cubicBezTo>
                    <a:pt x="1447" y="2083"/>
                    <a:pt x="1459" y="2025"/>
                    <a:pt x="1461" y="2014"/>
                  </a:cubicBezTo>
                  <a:cubicBezTo>
                    <a:pt x="1467" y="1986"/>
                    <a:pt x="1472" y="1940"/>
                    <a:pt x="1428" y="1940"/>
                  </a:cubicBezTo>
                  <a:cubicBezTo>
                    <a:pt x="1401" y="1940"/>
                    <a:pt x="1375" y="1960"/>
                    <a:pt x="1364" y="2012"/>
                  </a:cubicBezTo>
                  <a:cubicBezTo>
                    <a:pt x="1362" y="2025"/>
                    <a:pt x="1349" y="2083"/>
                    <a:pt x="1397" y="2083"/>
                  </a:cubicBezTo>
                  <a:moveTo>
                    <a:pt x="1842" y="2133"/>
                  </a:moveTo>
                  <a:cubicBezTo>
                    <a:pt x="1818" y="2139"/>
                    <a:pt x="1797" y="2141"/>
                    <a:pt x="1786" y="2141"/>
                  </a:cubicBezTo>
                  <a:cubicBezTo>
                    <a:pt x="1714" y="2141"/>
                    <a:pt x="1723" y="2095"/>
                    <a:pt x="1728" y="2075"/>
                  </a:cubicBezTo>
                  <a:cubicBezTo>
                    <a:pt x="1756" y="1942"/>
                    <a:pt x="1756" y="1942"/>
                    <a:pt x="1756" y="1942"/>
                  </a:cubicBezTo>
                  <a:cubicBezTo>
                    <a:pt x="1710" y="1942"/>
                    <a:pt x="1710" y="1942"/>
                    <a:pt x="1710" y="1942"/>
                  </a:cubicBezTo>
                  <a:cubicBezTo>
                    <a:pt x="1719" y="1895"/>
                    <a:pt x="1719" y="1895"/>
                    <a:pt x="1719" y="1895"/>
                  </a:cubicBezTo>
                  <a:cubicBezTo>
                    <a:pt x="1766" y="1895"/>
                    <a:pt x="1766" y="1895"/>
                    <a:pt x="1766" y="1895"/>
                  </a:cubicBezTo>
                  <a:cubicBezTo>
                    <a:pt x="1776" y="1848"/>
                    <a:pt x="1776" y="1848"/>
                    <a:pt x="1776" y="1848"/>
                  </a:cubicBezTo>
                  <a:cubicBezTo>
                    <a:pt x="1852" y="1822"/>
                    <a:pt x="1852" y="1822"/>
                    <a:pt x="1852" y="1822"/>
                  </a:cubicBezTo>
                  <a:cubicBezTo>
                    <a:pt x="1837" y="1895"/>
                    <a:pt x="1837" y="1895"/>
                    <a:pt x="1837" y="1895"/>
                  </a:cubicBezTo>
                  <a:cubicBezTo>
                    <a:pt x="1895" y="1895"/>
                    <a:pt x="1895" y="1895"/>
                    <a:pt x="1895" y="1895"/>
                  </a:cubicBezTo>
                  <a:cubicBezTo>
                    <a:pt x="1884" y="1942"/>
                    <a:pt x="1884" y="1942"/>
                    <a:pt x="1884" y="1942"/>
                  </a:cubicBezTo>
                  <a:cubicBezTo>
                    <a:pt x="1827" y="1942"/>
                    <a:pt x="1827" y="1942"/>
                    <a:pt x="1827" y="1942"/>
                  </a:cubicBezTo>
                  <a:cubicBezTo>
                    <a:pt x="1803" y="2052"/>
                    <a:pt x="1803" y="2052"/>
                    <a:pt x="1803" y="2052"/>
                  </a:cubicBezTo>
                  <a:cubicBezTo>
                    <a:pt x="1799" y="2074"/>
                    <a:pt x="1796" y="2088"/>
                    <a:pt x="1828" y="2088"/>
                  </a:cubicBezTo>
                  <a:cubicBezTo>
                    <a:pt x="1838" y="2088"/>
                    <a:pt x="1844" y="2087"/>
                    <a:pt x="1852" y="2086"/>
                  </a:cubicBezTo>
                  <a:lnTo>
                    <a:pt x="1842" y="2133"/>
                  </a:lnTo>
                  <a:close/>
                  <a:moveTo>
                    <a:pt x="1954" y="1790"/>
                  </a:moveTo>
                  <a:cubicBezTo>
                    <a:pt x="2025" y="1790"/>
                    <a:pt x="2025" y="1790"/>
                    <a:pt x="2025" y="1790"/>
                  </a:cubicBezTo>
                  <a:cubicBezTo>
                    <a:pt x="1996" y="1927"/>
                    <a:pt x="1996" y="1927"/>
                    <a:pt x="1996" y="1927"/>
                  </a:cubicBezTo>
                  <a:cubicBezTo>
                    <a:pt x="2007" y="1915"/>
                    <a:pt x="2030" y="1890"/>
                    <a:pt x="2074" y="1890"/>
                  </a:cubicBezTo>
                  <a:cubicBezTo>
                    <a:pt x="2110" y="1890"/>
                    <a:pt x="2129" y="1908"/>
                    <a:pt x="2137" y="1923"/>
                  </a:cubicBezTo>
                  <a:cubicBezTo>
                    <a:pt x="2143" y="1935"/>
                    <a:pt x="2146" y="1957"/>
                    <a:pt x="2139" y="1989"/>
                  </a:cubicBezTo>
                  <a:cubicBezTo>
                    <a:pt x="2108" y="2136"/>
                    <a:pt x="2108" y="2136"/>
                    <a:pt x="2108" y="2136"/>
                  </a:cubicBezTo>
                  <a:cubicBezTo>
                    <a:pt x="2037" y="2136"/>
                    <a:pt x="2037" y="2136"/>
                    <a:pt x="2037" y="2136"/>
                  </a:cubicBezTo>
                  <a:cubicBezTo>
                    <a:pt x="2068" y="1991"/>
                    <a:pt x="2068" y="1991"/>
                    <a:pt x="2068" y="1991"/>
                  </a:cubicBezTo>
                  <a:cubicBezTo>
                    <a:pt x="2071" y="1977"/>
                    <a:pt x="2079" y="1938"/>
                    <a:pt x="2040" y="1938"/>
                  </a:cubicBezTo>
                  <a:cubicBezTo>
                    <a:pt x="2019" y="1938"/>
                    <a:pt x="1991" y="1950"/>
                    <a:pt x="1983" y="1988"/>
                  </a:cubicBezTo>
                  <a:cubicBezTo>
                    <a:pt x="1952" y="2136"/>
                    <a:pt x="1952" y="2136"/>
                    <a:pt x="1952" y="2136"/>
                  </a:cubicBezTo>
                  <a:cubicBezTo>
                    <a:pt x="1881" y="2136"/>
                    <a:pt x="1881" y="2136"/>
                    <a:pt x="1881" y="2136"/>
                  </a:cubicBezTo>
                  <a:lnTo>
                    <a:pt x="1954" y="1790"/>
                  </a:lnTo>
                  <a:close/>
                  <a:moveTo>
                    <a:pt x="2195" y="1953"/>
                  </a:moveTo>
                  <a:cubicBezTo>
                    <a:pt x="2197" y="1942"/>
                    <a:pt x="2203" y="1906"/>
                    <a:pt x="2205" y="1893"/>
                  </a:cubicBezTo>
                  <a:cubicBezTo>
                    <a:pt x="2271" y="1893"/>
                    <a:pt x="2271" y="1893"/>
                    <a:pt x="2271" y="1893"/>
                  </a:cubicBezTo>
                  <a:cubicBezTo>
                    <a:pt x="2263" y="1939"/>
                    <a:pt x="2263" y="1939"/>
                    <a:pt x="2263" y="1939"/>
                  </a:cubicBezTo>
                  <a:cubicBezTo>
                    <a:pt x="2276" y="1919"/>
                    <a:pt x="2298" y="1889"/>
                    <a:pt x="2356" y="1892"/>
                  </a:cubicBezTo>
                  <a:cubicBezTo>
                    <a:pt x="2342" y="1956"/>
                    <a:pt x="2342" y="1956"/>
                    <a:pt x="2342" y="1956"/>
                  </a:cubicBezTo>
                  <a:cubicBezTo>
                    <a:pt x="2271" y="1949"/>
                    <a:pt x="2259" y="1986"/>
                    <a:pt x="2253" y="2017"/>
                  </a:cubicBezTo>
                  <a:cubicBezTo>
                    <a:pt x="2227" y="2136"/>
                    <a:pt x="2227" y="2136"/>
                    <a:pt x="2227" y="2136"/>
                  </a:cubicBezTo>
                  <a:cubicBezTo>
                    <a:pt x="2156" y="2136"/>
                    <a:pt x="2156" y="2136"/>
                    <a:pt x="2156" y="2136"/>
                  </a:cubicBezTo>
                  <a:lnTo>
                    <a:pt x="2195" y="1953"/>
                  </a:lnTo>
                  <a:close/>
                  <a:moveTo>
                    <a:pt x="2503" y="1888"/>
                  </a:moveTo>
                  <a:cubicBezTo>
                    <a:pt x="2591" y="1888"/>
                    <a:pt x="2617" y="1948"/>
                    <a:pt x="2602" y="2015"/>
                  </a:cubicBezTo>
                  <a:cubicBezTo>
                    <a:pt x="2587" y="2083"/>
                    <a:pt x="2535" y="2145"/>
                    <a:pt x="2447" y="2145"/>
                  </a:cubicBezTo>
                  <a:cubicBezTo>
                    <a:pt x="2378" y="2145"/>
                    <a:pt x="2332" y="2102"/>
                    <a:pt x="2350" y="2017"/>
                  </a:cubicBezTo>
                  <a:cubicBezTo>
                    <a:pt x="2362" y="1959"/>
                    <a:pt x="2408" y="1888"/>
                    <a:pt x="2503" y="1888"/>
                  </a:cubicBezTo>
                  <a:moveTo>
                    <a:pt x="2460" y="2095"/>
                  </a:moveTo>
                  <a:cubicBezTo>
                    <a:pt x="2491" y="2095"/>
                    <a:pt x="2516" y="2077"/>
                    <a:pt x="2530" y="2012"/>
                  </a:cubicBezTo>
                  <a:cubicBezTo>
                    <a:pt x="2537" y="1980"/>
                    <a:pt x="2540" y="1935"/>
                    <a:pt x="2493" y="1935"/>
                  </a:cubicBezTo>
                  <a:cubicBezTo>
                    <a:pt x="2441" y="1935"/>
                    <a:pt x="2427" y="1995"/>
                    <a:pt x="2423" y="2018"/>
                  </a:cubicBezTo>
                  <a:cubicBezTo>
                    <a:pt x="2411" y="2072"/>
                    <a:pt x="2425" y="2095"/>
                    <a:pt x="2460" y="2095"/>
                  </a:cubicBezTo>
                  <a:moveTo>
                    <a:pt x="2743" y="1894"/>
                  </a:moveTo>
                  <a:cubicBezTo>
                    <a:pt x="2713" y="2038"/>
                    <a:pt x="2713" y="2038"/>
                    <a:pt x="2713" y="2038"/>
                  </a:cubicBezTo>
                  <a:cubicBezTo>
                    <a:pt x="2708" y="2060"/>
                    <a:pt x="2701" y="2092"/>
                    <a:pt x="2740" y="2092"/>
                  </a:cubicBezTo>
                  <a:cubicBezTo>
                    <a:pt x="2785" y="2092"/>
                    <a:pt x="2792" y="2058"/>
                    <a:pt x="2801" y="2016"/>
                  </a:cubicBezTo>
                  <a:cubicBezTo>
                    <a:pt x="2827" y="1894"/>
                    <a:pt x="2827" y="1894"/>
                    <a:pt x="2827" y="1894"/>
                  </a:cubicBezTo>
                  <a:cubicBezTo>
                    <a:pt x="2900" y="1894"/>
                    <a:pt x="2900" y="1894"/>
                    <a:pt x="2900" y="1894"/>
                  </a:cubicBezTo>
                  <a:cubicBezTo>
                    <a:pt x="2867" y="2053"/>
                    <a:pt x="2867" y="2053"/>
                    <a:pt x="2867" y="2053"/>
                  </a:cubicBezTo>
                  <a:cubicBezTo>
                    <a:pt x="2856" y="2106"/>
                    <a:pt x="2855" y="2112"/>
                    <a:pt x="2854" y="2118"/>
                  </a:cubicBezTo>
                  <a:cubicBezTo>
                    <a:pt x="2853" y="2125"/>
                    <a:pt x="2852" y="2130"/>
                    <a:pt x="2852" y="2136"/>
                  </a:cubicBezTo>
                  <a:cubicBezTo>
                    <a:pt x="2783" y="2136"/>
                    <a:pt x="2783" y="2136"/>
                    <a:pt x="2783" y="2136"/>
                  </a:cubicBezTo>
                  <a:cubicBezTo>
                    <a:pt x="2787" y="2104"/>
                    <a:pt x="2787" y="2104"/>
                    <a:pt x="2787" y="2104"/>
                  </a:cubicBezTo>
                  <a:cubicBezTo>
                    <a:pt x="2778" y="2115"/>
                    <a:pt x="2753" y="2143"/>
                    <a:pt x="2707" y="2143"/>
                  </a:cubicBezTo>
                  <a:cubicBezTo>
                    <a:pt x="2675" y="2143"/>
                    <a:pt x="2651" y="2128"/>
                    <a:pt x="2641" y="2110"/>
                  </a:cubicBezTo>
                  <a:cubicBezTo>
                    <a:pt x="2630" y="2090"/>
                    <a:pt x="2637" y="2056"/>
                    <a:pt x="2639" y="2045"/>
                  </a:cubicBezTo>
                  <a:cubicBezTo>
                    <a:pt x="2671" y="1894"/>
                    <a:pt x="2671" y="1894"/>
                    <a:pt x="2671" y="1894"/>
                  </a:cubicBezTo>
                  <a:lnTo>
                    <a:pt x="2743" y="1894"/>
                  </a:lnTo>
                  <a:close/>
                  <a:moveTo>
                    <a:pt x="3181" y="1895"/>
                  </a:moveTo>
                  <a:cubicBezTo>
                    <a:pt x="3175" y="1914"/>
                    <a:pt x="3170" y="1930"/>
                    <a:pt x="3164" y="1955"/>
                  </a:cubicBezTo>
                  <a:cubicBezTo>
                    <a:pt x="3126" y="2134"/>
                    <a:pt x="3126" y="2134"/>
                    <a:pt x="3126" y="2134"/>
                  </a:cubicBezTo>
                  <a:cubicBezTo>
                    <a:pt x="3108" y="2223"/>
                    <a:pt x="3031" y="2232"/>
                    <a:pt x="2985" y="2232"/>
                  </a:cubicBezTo>
                  <a:cubicBezTo>
                    <a:pt x="2950" y="2232"/>
                    <a:pt x="2883" y="2228"/>
                    <a:pt x="2894" y="2154"/>
                  </a:cubicBezTo>
                  <a:cubicBezTo>
                    <a:pt x="2962" y="2154"/>
                    <a:pt x="2962" y="2154"/>
                    <a:pt x="2962" y="2154"/>
                  </a:cubicBezTo>
                  <a:cubicBezTo>
                    <a:pt x="2962" y="2158"/>
                    <a:pt x="2962" y="2166"/>
                    <a:pt x="2966" y="2174"/>
                  </a:cubicBezTo>
                  <a:cubicBezTo>
                    <a:pt x="2970" y="2181"/>
                    <a:pt x="2979" y="2188"/>
                    <a:pt x="2998" y="2188"/>
                  </a:cubicBezTo>
                  <a:cubicBezTo>
                    <a:pt x="3019" y="2188"/>
                    <a:pt x="3040" y="2178"/>
                    <a:pt x="3049" y="2156"/>
                  </a:cubicBezTo>
                  <a:cubicBezTo>
                    <a:pt x="3054" y="2144"/>
                    <a:pt x="3056" y="2135"/>
                    <a:pt x="3064" y="2099"/>
                  </a:cubicBezTo>
                  <a:cubicBezTo>
                    <a:pt x="3036" y="2128"/>
                    <a:pt x="3009" y="2132"/>
                    <a:pt x="2992" y="2132"/>
                  </a:cubicBezTo>
                  <a:cubicBezTo>
                    <a:pt x="2922" y="2132"/>
                    <a:pt x="2903" y="2071"/>
                    <a:pt x="2915" y="2012"/>
                  </a:cubicBezTo>
                  <a:cubicBezTo>
                    <a:pt x="2928" y="1951"/>
                    <a:pt x="2974" y="1892"/>
                    <a:pt x="3044" y="1892"/>
                  </a:cubicBezTo>
                  <a:cubicBezTo>
                    <a:pt x="3088" y="1892"/>
                    <a:pt x="3099" y="1916"/>
                    <a:pt x="3105" y="1927"/>
                  </a:cubicBezTo>
                  <a:cubicBezTo>
                    <a:pt x="3114" y="1895"/>
                    <a:pt x="3114" y="1895"/>
                    <a:pt x="3114" y="1895"/>
                  </a:cubicBezTo>
                  <a:lnTo>
                    <a:pt x="3181" y="1895"/>
                  </a:lnTo>
                  <a:close/>
                  <a:moveTo>
                    <a:pt x="3019" y="2083"/>
                  </a:moveTo>
                  <a:cubicBezTo>
                    <a:pt x="3069" y="2083"/>
                    <a:pt x="3081" y="2025"/>
                    <a:pt x="3083" y="2014"/>
                  </a:cubicBezTo>
                  <a:cubicBezTo>
                    <a:pt x="3089" y="1986"/>
                    <a:pt x="3094" y="1940"/>
                    <a:pt x="3051" y="1940"/>
                  </a:cubicBezTo>
                  <a:cubicBezTo>
                    <a:pt x="3024" y="1940"/>
                    <a:pt x="2997" y="1960"/>
                    <a:pt x="2986" y="2012"/>
                  </a:cubicBezTo>
                  <a:cubicBezTo>
                    <a:pt x="2984" y="2025"/>
                    <a:pt x="2971" y="2083"/>
                    <a:pt x="3019" y="2083"/>
                  </a:cubicBezTo>
                  <a:moveTo>
                    <a:pt x="3257" y="1790"/>
                  </a:moveTo>
                  <a:cubicBezTo>
                    <a:pt x="3327" y="1790"/>
                    <a:pt x="3327" y="1790"/>
                    <a:pt x="3327" y="1790"/>
                  </a:cubicBezTo>
                  <a:cubicBezTo>
                    <a:pt x="3298" y="1927"/>
                    <a:pt x="3298" y="1927"/>
                    <a:pt x="3298" y="1927"/>
                  </a:cubicBezTo>
                  <a:cubicBezTo>
                    <a:pt x="3309" y="1915"/>
                    <a:pt x="3332" y="1890"/>
                    <a:pt x="3376" y="1890"/>
                  </a:cubicBezTo>
                  <a:cubicBezTo>
                    <a:pt x="3412" y="1890"/>
                    <a:pt x="3431" y="1908"/>
                    <a:pt x="3440" y="1923"/>
                  </a:cubicBezTo>
                  <a:cubicBezTo>
                    <a:pt x="3446" y="1935"/>
                    <a:pt x="3448" y="1957"/>
                    <a:pt x="3441" y="1989"/>
                  </a:cubicBezTo>
                  <a:cubicBezTo>
                    <a:pt x="3410" y="2136"/>
                    <a:pt x="3410" y="2136"/>
                    <a:pt x="3410" y="2136"/>
                  </a:cubicBezTo>
                  <a:cubicBezTo>
                    <a:pt x="3340" y="2136"/>
                    <a:pt x="3340" y="2136"/>
                    <a:pt x="3340" y="2136"/>
                  </a:cubicBezTo>
                  <a:cubicBezTo>
                    <a:pt x="3370" y="1991"/>
                    <a:pt x="3370" y="1991"/>
                    <a:pt x="3370" y="1991"/>
                  </a:cubicBezTo>
                  <a:cubicBezTo>
                    <a:pt x="3373" y="1977"/>
                    <a:pt x="3382" y="1938"/>
                    <a:pt x="3342" y="1938"/>
                  </a:cubicBezTo>
                  <a:cubicBezTo>
                    <a:pt x="3322" y="1938"/>
                    <a:pt x="3293" y="1950"/>
                    <a:pt x="3286" y="1988"/>
                  </a:cubicBezTo>
                  <a:cubicBezTo>
                    <a:pt x="3255" y="2136"/>
                    <a:pt x="3255" y="2136"/>
                    <a:pt x="3255" y="2136"/>
                  </a:cubicBezTo>
                  <a:cubicBezTo>
                    <a:pt x="3183" y="2136"/>
                    <a:pt x="3183" y="2136"/>
                    <a:pt x="3183" y="2136"/>
                  </a:cubicBezTo>
                  <a:lnTo>
                    <a:pt x="3257" y="1790"/>
                  </a:lnTo>
                  <a:close/>
                  <a:moveTo>
                    <a:pt x="158" y="1980"/>
                  </a:moveTo>
                  <a:cubicBezTo>
                    <a:pt x="159" y="1971"/>
                    <a:pt x="164" y="1935"/>
                    <a:pt x="137" y="1935"/>
                  </a:cubicBezTo>
                  <a:cubicBezTo>
                    <a:pt x="103" y="1935"/>
                    <a:pt x="89" y="1986"/>
                    <a:pt x="83" y="2012"/>
                  </a:cubicBezTo>
                  <a:cubicBezTo>
                    <a:pt x="80" y="2026"/>
                    <a:pt x="72" y="2069"/>
                    <a:pt x="85" y="2087"/>
                  </a:cubicBezTo>
                  <a:cubicBezTo>
                    <a:pt x="90" y="2094"/>
                    <a:pt x="97" y="2095"/>
                    <a:pt x="102" y="2095"/>
                  </a:cubicBezTo>
                  <a:cubicBezTo>
                    <a:pt x="109" y="2095"/>
                    <a:pt x="133" y="2092"/>
                    <a:pt x="145" y="2048"/>
                  </a:cubicBezTo>
                  <a:cubicBezTo>
                    <a:pt x="215" y="2048"/>
                    <a:pt x="215" y="2048"/>
                    <a:pt x="215" y="2048"/>
                  </a:cubicBezTo>
                  <a:cubicBezTo>
                    <a:pt x="210" y="2067"/>
                    <a:pt x="201" y="2097"/>
                    <a:pt x="168" y="2120"/>
                  </a:cubicBezTo>
                  <a:cubicBezTo>
                    <a:pt x="148" y="2135"/>
                    <a:pt x="124" y="2143"/>
                    <a:pt x="94" y="2143"/>
                  </a:cubicBezTo>
                  <a:cubicBezTo>
                    <a:pt x="62" y="2143"/>
                    <a:pt x="35" y="2135"/>
                    <a:pt x="18" y="2110"/>
                  </a:cubicBezTo>
                  <a:cubicBezTo>
                    <a:pt x="2" y="2086"/>
                    <a:pt x="0" y="2053"/>
                    <a:pt x="8" y="2015"/>
                  </a:cubicBezTo>
                  <a:cubicBezTo>
                    <a:pt x="32" y="1904"/>
                    <a:pt x="116" y="1889"/>
                    <a:pt x="148" y="1889"/>
                  </a:cubicBezTo>
                  <a:cubicBezTo>
                    <a:pt x="193" y="1889"/>
                    <a:pt x="241" y="1914"/>
                    <a:pt x="228" y="1980"/>
                  </a:cubicBezTo>
                  <a:lnTo>
                    <a:pt x="158" y="1980"/>
                  </a:lnTo>
                  <a:close/>
                  <a:moveTo>
                    <a:pt x="3764" y="1980"/>
                  </a:moveTo>
                  <a:cubicBezTo>
                    <a:pt x="3765" y="1971"/>
                    <a:pt x="3770" y="1935"/>
                    <a:pt x="3742" y="1935"/>
                  </a:cubicBezTo>
                  <a:cubicBezTo>
                    <a:pt x="3709" y="1935"/>
                    <a:pt x="3694" y="1986"/>
                    <a:pt x="3688" y="2012"/>
                  </a:cubicBezTo>
                  <a:cubicBezTo>
                    <a:pt x="3685" y="2026"/>
                    <a:pt x="3678" y="2069"/>
                    <a:pt x="3691" y="2087"/>
                  </a:cubicBezTo>
                  <a:cubicBezTo>
                    <a:pt x="3695" y="2094"/>
                    <a:pt x="3703" y="2095"/>
                    <a:pt x="3708" y="2095"/>
                  </a:cubicBezTo>
                  <a:cubicBezTo>
                    <a:pt x="3715" y="2095"/>
                    <a:pt x="3738" y="2092"/>
                    <a:pt x="3751" y="2048"/>
                  </a:cubicBezTo>
                  <a:cubicBezTo>
                    <a:pt x="3820" y="2048"/>
                    <a:pt x="3820" y="2048"/>
                    <a:pt x="3820" y="2048"/>
                  </a:cubicBezTo>
                  <a:cubicBezTo>
                    <a:pt x="3816" y="2067"/>
                    <a:pt x="3807" y="2097"/>
                    <a:pt x="3774" y="2120"/>
                  </a:cubicBezTo>
                  <a:cubicBezTo>
                    <a:pt x="3754" y="2135"/>
                    <a:pt x="3730" y="2143"/>
                    <a:pt x="3700" y="2143"/>
                  </a:cubicBezTo>
                  <a:cubicBezTo>
                    <a:pt x="3668" y="2143"/>
                    <a:pt x="3641" y="2135"/>
                    <a:pt x="3624" y="2110"/>
                  </a:cubicBezTo>
                  <a:cubicBezTo>
                    <a:pt x="3608" y="2086"/>
                    <a:pt x="3606" y="2053"/>
                    <a:pt x="3614" y="2015"/>
                  </a:cubicBezTo>
                  <a:cubicBezTo>
                    <a:pt x="3638" y="1904"/>
                    <a:pt x="3722" y="1889"/>
                    <a:pt x="3754" y="1889"/>
                  </a:cubicBezTo>
                  <a:cubicBezTo>
                    <a:pt x="3799" y="1889"/>
                    <a:pt x="3847" y="1914"/>
                    <a:pt x="3834" y="1980"/>
                  </a:cubicBezTo>
                  <a:lnTo>
                    <a:pt x="3764" y="1980"/>
                  </a:lnTo>
                  <a:close/>
                  <a:moveTo>
                    <a:pt x="4010" y="1888"/>
                  </a:moveTo>
                  <a:cubicBezTo>
                    <a:pt x="4098" y="1888"/>
                    <a:pt x="4123" y="1948"/>
                    <a:pt x="4109" y="2015"/>
                  </a:cubicBezTo>
                  <a:cubicBezTo>
                    <a:pt x="4094" y="2083"/>
                    <a:pt x="4042" y="2145"/>
                    <a:pt x="3954" y="2145"/>
                  </a:cubicBezTo>
                  <a:cubicBezTo>
                    <a:pt x="3884" y="2145"/>
                    <a:pt x="3839" y="2102"/>
                    <a:pt x="3857" y="2017"/>
                  </a:cubicBezTo>
                  <a:cubicBezTo>
                    <a:pt x="3870" y="1959"/>
                    <a:pt x="3914" y="1888"/>
                    <a:pt x="4010" y="1888"/>
                  </a:cubicBezTo>
                  <a:moveTo>
                    <a:pt x="3967" y="2095"/>
                  </a:moveTo>
                  <a:cubicBezTo>
                    <a:pt x="3998" y="2095"/>
                    <a:pt x="4023" y="2077"/>
                    <a:pt x="4037" y="2012"/>
                  </a:cubicBezTo>
                  <a:cubicBezTo>
                    <a:pt x="4044" y="1980"/>
                    <a:pt x="4047" y="1935"/>
                    <a:pt x="4000" y="1935"/>
                  </a:cubicBezTo>
                  <a:cubicBezTo>
                    <a:pt x="3948" y="1935"/>
                    <a:pt x="3935" y="1995"/>
                    <a:pt x="3930" y="2018"/>
                  </a:cubicBezTo>
                  <a:cubicBezTo>
                    <a:pt x="3918" y="2072"/>
                    <a:pt x="3932" y="2095"/>
                    <a:pt x="3967" y="2095"/>
                  </a:cubicBezTo>
                  <a:moveTo>
                    <a:pt x="4173" y="1939"/>
                  </a:moveTo>
                  <a:cubicBezTo>
                    <a:pt x="4176" y="1924"/>
                    <a:pt x="4178" y="1909"/>
                    <a:pt x="4180" y="1894"/>
                  </a:cubicBezTo>
                  <a:cubicBezTo>
                    <a:pt x="4248" y="1894"/>
                    <a:pt x="4248" y="1894"/>
                    <a:pt x="4248" y="1894"/>
                  </a:cubicBezTo>
                  <a:cubicBezTo>
                    <a:pt x="4245" y="1925"/>
                    <a:pt x="4245" y="1925"/>
                    <a:pt x="4245" y="1925"/>
                  </a:cubicBezTo>
                  <a:cubicBezTo>
                    <a:pt x="4254" y="1915"/>
                    <a:pt x="4279" y="1889"/>
                    <a:pt x="4327" y="1889"/>
                  </a:cubicBezTo>
                  <a:cubicBezTo>
                    <a:pt x="4383" y="1889"/>
                    <a:pt x="4392" y="1923"/>
                    <a:pt x="4394" y="1934"/>
                  </a:cubicBezTo>
                  <a:cubicBezTo>
                    <a:pt x="4423" y="1895"/>
                    <a:pt x="4456" y="1889"/>
                    <a:pt x="4481" y="1889"/>
                  </a:cubicBezTo>
                  <a:cubicBezTo>
                    <a:pt x="4530" y="1889"/>
                    <a:pt x="4544" y="1918"/>
                    <a:pt x="4547" y="1928"/>
                  </a:cubicBezTo>
                  <a:cubicBezTo>
                    <a:pt x="4555" y="1949"/>
                    <a:pt x="4548" y="1978"/>
                    <a:pt x="4544" y="1999"/>
                  </a:cubicBezTo>
                  <a:cubicBezTo>
                    <a:pt x="4515" y="2136"/>
                    <a:pt x="4515" y="2136"/>
                    <a:pt x="4515" y="2136"/>
                  </a:cubicBezTo>
                  <a:cubicBezTo>
                    <a:pt x="4443" y="2136"/>
                    <a:pt x="4443" y="2136"/>
                    <a:pt x="4443" y="2136"/>
                  </a:cubicBezTo>
                  <a:cubicBezTo>
                    <a:pt x="4473" y="1994"/>
                    <a:pt x="4473" y="1994"/>
                    <a:pt x="4473" y="1994"/>
                  </a:cubicBezTo>
                  <a:cubicBezTo>
                    <a:pt x="4479" y="1968"/>
                    <a:pt x="4481" y="1939"/>
                    <a:pt x="4444" y="1939"/>
                  </a:cubicBezTo>
                  <a:cubicBezTo>
                    <a:pt x="4401" y="1939"/>
                    <a:pt x="4392" y="1979"/>
                    <a:pt x="4385" y="2015"/>
                  </a:cubicBezTo>
                  <a:cubicBezTo>
                    <a:pt x="4358" y="2136"/>
                    <a:pt x="4358" y="2136"/>
                    <a:pt x="4358" y="2136"/>
                  </a:cubicBezTo>
                  <a:cubicBezTo>
                    <a:pt x="4286" y="2136"/>
                    <a:pt x="4286" y="2136"/>
                    <a:pt x="4286" y="2136"/>
                  </a:cubicBezTo>
                  <a:cubicBezTo>
                    <a:pt x="4318" y="1992"/>
                    <a:pt x="4318" y="1992"/>
                    <a:pt x="4318" y="1992"/>
                  </a:cubicBezTo>
                  <a:cubicBezTo>
                    <a:pt x="4321" y="1974"/>
                    <a:pt x="4328" y="1939"/>
                    <a:pt x="4289" y="1939"/>
                  </a:cubicBezTo>
                  <a:cubicBezTo>
                    <a:pt x="4244" y="1939"/>
                    <a:pt x="4236" y="1977"/>
                    <a:pt x="4232" y="1994"/>
                  </a:cubicBezTo>
                  <a:cubicBezTo>
                    <a:pt x="4202" y="2136"/>
                    <a:pt x="4202" y="2136"/>
                    <a:pt x="4202" y="2136"/>
                  </a:cubicBezTo>
                  <a:cubicBezTo>
                    <a:pt x="4131" y="2136"/>
                    <a:pt x="4131" y="2136"/>
                    <a:pt x="4131" y="2136"/>
                  </a:cubicBezTo>
                  <a:lnTo>
                    <a:pt x="4173" y="1939"/>
                  </a:lnTo>
                  <a:close/>
                  <a:moveTo>
                    <a:pt x="4694" y="1894"/>
                  </a:moveTo>
                  <a:cubicBezTo>
                    <a:pt x="4689" y="1928"/>
                    <a:pt x="4689" y="1928"/>
                    <a:pt x="4689" y="1928"/>
                  </a:cubicBezTo>
                  <a:cubicBezTo>
                    <a:pt x="4719" y="1889"/>
                    <a:pt x="4759" y="1889"/>
                    <a:pt x="4771" y="1889"/>
                  </a:cubicBezTo>
                  <a:cubicBezTo>
                    <a:pt x="4834" y="1889"/>
                    <a:pt x="4862" y="1936"/>
                    <a:pt x="4846" y="2010"/>
                  </a:cubicBezTo>
                  <a:cubicBezTo>
                    <a:pt x="4832" y="2079"/>
                    <a:pt x="4783" y="2140"/>
                    <a:pt x="4713" y="2140"/>
                  </a:cubicBezTo>
                  <a:cubicBezTo>
                    <a:pt x="4669" y="2140"/>
                    <a:pt x="4656" y="2117"/>
                    <a:pt x="4652" y="2109"/>
                  </a:cubicBezTo>
                  <a:cubicBezTo>
                    <a:pt x="4626" y="2229"/>
                    <a:pt x="4626" y="2229"/>
                    <a:pt x="4626" y="2229"/>
                  </a:cubicBezTo>
                  <a:cubicBezTo>
                    <a:pt x="4554" y="2229"/>
                    <a:pt x="4554" y="2229"/>
                    <a:pt x="4554" y="2229"/>
                  </a:cubicBezTo>
                  <a:cubicBezTo>
                    <a:pt x="4625" y="1894"/>
                    <a:pt x="4625" y="1894"/>
                    <a:pt x="4625" y="1894"/>
                  </a:cubicBezTo>
                  <a:lnTo>
                    <a:pt x="4694" y="1894"/>
                  </a:lnTo>
                  <a:close/>
                  <a:moveTo>
                    <a:pt x="4774" y="2013"/>
                  </a:moveTo>
                  <a:cubicBezTo>
                    <a:pt x="4780" y="1984"/>
                    <a:pt x="4783" y="1935"/>
                    <a:pt x="4741" y="1935"/>
                  </a:cubicBezTo>
                  <a:cubicBezTo>
                    <a:pt x="4718" y="1935"/>
                    <a:pt x="4682" y="1952"/>
                    <a:pt x="4668" y="2017"/>
                  </a:cubicBezTo>
                  <a:cubicBezTo>
                    <a:pt x="4665" y="2031"/>
                    <a:pt x="4652" y="2093"/>
                    <a:pt x="4705" y="2093"/>
                  </a:cubicBezTo>
                  <a:cubicBezTo>
                    <a:pt x="4738" y="2093"/>
                    <a:pt x="4763" y="2061"/>
                    <a:pt x="4774" y="2013"/>
                  </a:cubicBezTo>
                  <a:moveTo>
                    <a:pt x="4936" y="1789"/>
                  </a:moveTo>
                  <a:cubicBezTo>
                    <a:pt x="5007" y="1789"/>
                    <a:pt x="5007" y="1789"/>
                    <a:pt x="5007" y="1789"/>
                  </a:cubicBezTo>
                  <a:cubicBezTo>
                    <a:pt x="4933" y="2136"/>
                    <a:pt x="4933" y="2136"/>
                    <a:pt x="4933" y="2136"/>
                  </a:cubicBezTo>
                  <a:cubicBezTo>
                    <a:pt x="4862" y="2136"/>
                    <a:pt x="4862" y="2136"/>
                    <a:pt x="4862" y="2136"/>
                  </a:cubicBezTo>
                  <a:lnTo>
                    <a:pt x="4936" y="1789"/>
                  </a:lnTo>
                  <a:close/>
                  <a:moveTo>
                    <a:pt x="5068" y="2033"/>
                  </a:moveTo>
                  <a:cubicBezTo>
                    <a:pt x="5064" y="2049"/>
                    <a:pt x="5054" y="2098"/>
                    <a:pt x="5104" y="2098"/>
                  </a:cubicBezTo>
                  <a:cubicBezTo>
                    <a:pt x="5121" y="2098"/>
                    <a:pt x="5140" y="2091"/>
                    <a:pt x="5153" y="2064"/>
                  </a:cubicBezTo>
                  <a:cubicBezTo>
                    <a:pt x="5218" y="2064"/>
                    <a:pt x="5218" y="2064"/>
                    <a:pt x="5218" y="2064"/>
                  </a:cubicBezTo>
                  <a:cubicBezTo>
                    <a:pt x="5214" y="2076"/>
                    <a:pt x="5208" y="2097"/>
                    <a:pt x="5184" y="2117"/>
                  </a:cubicBezTo>
                  <a:cubicBezTo>
                    <a:pt x="5162" y="2136"/>
                    <a:pt x="5128" y="2145"/>
                    <a:pt x="5092" y="2145"/>
                  </a:cubicBezTo>
                  <a:cubicBezTo>
                    <a:pt x="5072" y="2145"/>
                    <a:pt x="5033" y="2142"/>
                    <a:pt x="5013" y="2115"/>
                  </a:cubicBezTo>
                  <a:cubicBezTo>
                    <a:pt x="4996" y="2092"/>
                    <a:pt x="4994" y="2060"/>
                    <a:pt x="5002" y="2021"/>
                  </a:cubicBezTo>
                  <a:cubicBezTo>
                    <a:pt x="5011" y="1981"/>
                    <a:pt x="5030" y="1934"/>
                    <a:pt x="5077" y="1906"/>
                  </a:cubicBezTo>
                  <a:cubicBezTo>
                    <a:pt x="5099" y="1893"/>
                    <a:pt x="5123" y="1886"/>
                    <a:pt x="5150" y="1886"/>
                  </a:cubicBezTo>
                  <a:cubicBezTo>
                    <a:pt x="5184" y="1886"/>
                    <a:pt x="5222" y="1899"/>
                    <a:pt x="5235" y="1944"/>
                  </a:cubicBezTo>
                  <a:cubicBezTo>
                    <a:pt x="5244" y="1977"/>
                    <a:pt x="5236" y="2013"/>
                    <a:pt x="5231" y="2033"/>
                  </a:cubicBezTo>
                  <a:lnTo>
                    <a:pt x="5068" y="2033"/>
                  </a:lnTo>
                  <a:close/>
                  <a:moveTo>
                    <a:pt x="5167" y="1988"/>
                  </a:moveTo>
                  <a:cubicBezTo>
                    <a:pt x="5170" y="1977"/>
                    <a:pt x="5178" y="1934"/>
                    <a:pt x="5137" y="1934"/>
                  </a:cubicBezTo>
                  <a:cubicBezTo>
                    <a:pt x="5105" y="1934"/>
                    <a:pt x="5087" y="1960"/>
                    <a:pt x="5080" y="1988"/>
                  </a:cubicBezTo>
                  <a:lnTo>
                    <a:pt x="5167" y="1988"/>
                  </a:lnTo>
                  <a:close/>
                  <a:moveTo>
                    <a:pt x="5353" y="1894"/>
                  </a:moveTo>
                  <a:cubicBezTo>
                    <a:pt x="5382" y="1973"/>
                    <a:pt x="5382" y="1973"/>
                    <a:pt x="5382" y="1973"/>
                  </a:cubicBezTo>
                  <a:cubicBezTo>
                    <a:pt x="5447" y="1894"/>
                    <a:pt x="5447" y="1894"/>
                    <a:pt x="5447" y="1894"/>
                  </a:cubicBezTo>
                  <a:cubicBezTo>
                    <a:pt x="5520" y="1894"/>
                    <a:pt x="5520" y="1894"/>
                    <a:pt x="5520" y="1894"/>
                  </a:cubicBezTo>
                  <a:cubicBezTo>
                    <a:pt x="5417" y="2012"/>
                    <a:pt x="5417" y="2012"/>
                    <a:pt x="5417" y="2012"/>
                  </a:cubicBezTo>
                  <a:cubicBezTo>
                    <a:pt x="5471" y="2136"/>
                    <a:pt x="5471" y="2136"/>
                    <a:pt x="5471" y="2136"/>
                  </a:cubicBezTo>
                  <a:cubicBezTo>
                    <a:pt x="5388" y="2136"/>
                    <a:pt x="5388" y="2136"/>
                    <a:pt x="5388" y="2136"/>
                  </a:cubicBezTo>
                  <a:cubicBezTo>
                    <a:pt x="5357" y="2047"/>
                    <a:pt x="5357" y="2047"/>
                    <a:pt x="5357" y="2047"/>
                  </a:cubicBezTo>
                  <a:cubicBezTo>
                    <a:pt x="5289" y="2136"/>
                    <a:pt x="5289" y="2136"/>
                    <a:pt x="5289" y="2136"/>
                  </a:cubicBezTo>
                  <a:cubicBezTo>
                    <a:pt x="5214" y="2136"/>
                    <a:pt x="5214" y="2136"/>
                    <a:pt x="5214" y="2136"/>
                  </a:cubicBezTo>
                  <a:cubicBezTo>
                    <a:pt x="5323" y="2006"/>
                    <a:pt x="5323" y="2006"/>
                    <a:pt x="5323" y="2006"/>
                  </a:cubicBezTo>
                  <a:cubicBezTo>
                    <a:pt x="5269" y="1894"/>
                    <a:pt x="5269" y="1894"/>
                    <a:pt x="5269" y="1894"/>
                  </a:cubicBezTo>
                  <a:lnTo>
                    <a:pt x="5353" y="1894"/>
                  </a:lnTo>
                  <a:close/>
                  <a:moveTo>
                    <a:pt x="5553" y="1893"/>
                  </a:moveTo>
                  <a:cubicBezTo>
                    <a:pt x="5625" y="1893"/>
                    <a:pt x="5625" y="1893"/>
                    <a:pt x="5625" y="1893"/>
                  </a:cubicBezTo>
                  <a:cubicBezTo>
                    <a:pt x="5573" y="2136"/>
                    <a:pt x="5573" y="2136"/>
                    <a:pt x="5573" y="2136"/>
                  </a:cubicBezTo>
                  <a:cubicBezTo>
                    <a:pt x="5501" y="2136"/>
                    <a:pt x="5501" y="2136"/>
                    <a:pt x="5501" y="2136"/>
                  </a:cubicBezTo>
                  <a:lnTo>
                    <a:pt x="5553" y="1893"/>
                  </a:lnTo>
                  <a:close/>
                  <a:moveTo>
                    <a:pt x="5573" y="1790"/>
                  </a:moveTo>
                  <a:cubicBezTo>
                    <a:pt x="5648" y="1790"/>
                    <a:pt x="5648" y="1790"/>
                    <a:pt x="5648" y="1790"/>
                  </a:cubicBezTo>
                  <a:cubicBezTo>
                    <a:pt x="5636" y="1851"/>
                    <a:pt x="5636" y="1851"/>
                    <a:pt x="5636" y="1851"/>
                  </a:cubicBezTo>
                  <a:cubicBezTo>
                    <a:pt x="5560" y="1851"/>
                    <a:pt x="5560" y="1851"/>
                    <a:pt x="5560" y="1851"/>
                  </a:cubicBezTo>
                  <a:lnTo>
                    <a:pt x="5573" y="1790"/>
                  </a:lnTo>
                  <a:close/>
                  <a:moveTo>
                    <a:pt x="5775" y="2133"/>
                  </a:moveTo>
                  <a:cubicBezTo>
                    <a:pt x="5752" y="2139"/>
                    <a:pt x="5730" y="2141"/>
                    <a:pt x="5719" y="2141"/>
                  </a:cubicBezTo>
                  <a:cubicBezTo>
                    <a:pt x="5647" y="2141"/>
                    <a:pt x="5657" y="2095"/>
                    <a:pt x="5662" y="2075"/>
                  </a:cubicBezTo>
                  <a:cubicBezTo>
                    <a:pt x="5689" y="1942"/>
                    <a:pt x="5689" y="1942"/>
                    <a:pt x="5689" y="1942"/>
                  </a:cubicBezTo>
                  <a:cubicBezTo>
                    <a:pt x="5643" y="1942"/>
                    <a:pt x="5643" y="1942"/>
                    <a:pt x="5643" y="1942"/>
                  </a:cubicBezTo>
                  <a:cubicBezTo>
                    <a:pt x="5653" y="1895"/>
                    <a:pt x="5653" y="1895"/>
                    <a:pt x="5653" y="1895"/>
                  </a:cubicBezTo>
                  <a:cubicBezTo>
                    <a:pt x="5700" y="1895"/>
                    <a:pt x="5700" y="1895"/>
                    <a:pt x="5700" y="1895"/>
                  </a:cubicBezTo>
                  <a:cubicBezTo>
                    <a:pt x="5710" y="1848"/>
                    <a:pt x="5710" y="1848"/>
                    <a:pt x="5710" y="1848"/>
                  </a:cubicBezTo>
                  <a:cubicBezTo>
                    <a:pt x="5786" y="1822"/>
                    <a:pt x="5786" y="1822"/>
                    <a:pt x="5786" y="1822"/>
                  </a:cubicBezTo>
                  <a:cubicBezTo>
                    <a:pt x="5770" y="1895"/>
                    <a:pt x="5770" y="1895"/>
                    <a:pt x="5770" y="1895"/>
                  </a:cubicBezTo>
                  <a:cubicBezTo>
                    <a:pt x="5828" y="1895"/>
                    <a:pt x="5828" y="1895"/>
                    <a:pt x="5828" y="1895"/>
                  </a:cubicBezTo>
                  <a:cubicBezTo>
                    <a:pt x="5818" y="1942"/>
                    <a:pt x="5818" y="1942"/>
                    <a:pt x="5818" y="1942"/>
                  </a:cubicBezTo>
                  <a:cubicBezTo>
                    <a:pt x="5760" y="1942"/>
                    <a:pt x="5760" y="1942"/>
                    <a:pt x="5760" y="1942"/>
                  </a:cubicBezTo>
                  <a:cubicBezTo>
                    <a:pt x="5736" y="2052"/>
                    <a:pt x="5736" y="2052"/>
                    <a:pt x="5736" y="2052"/>
                  </a:cubicBezTo>
                  <a:cubicBezTo>
                    <a:pt x="5733" y="2074"/>
                    <a:pt x="5729" y="2088"/>
                    <a:pt x="5761" y="2088"/>
                  </a:cubicBezTo>
                  <a:cubicBezTo>
                    <a:pt x="5772" y="2088"/>
                    <a:pt x="5777" y="2087"/>
                    <a:pt x="5786" y="2086"/>
                  </a:cubicBezTo>
                  <a:lnTo>
                    <a:pt x="5775" y="2133"/>
                  </a:lnTo>
                  <a:close/>
                  <a:moveTo>
                    <a:pt x="5921" y="1894"/>
                  </a:moveTo>
                  <a:cubicBezTo>
                    <a:pt x="5939" y="2062"/>
                    <a:pt x="5939" y="2062"/>
                    <a:pt x="5939" y="2062"/>
                  </a:cubicBezTo>
                  <a:cubicBezTo>
                    <a:pt x="6028" y="1894"/>
                    <a:pt x="6028" y="1894"/>
                    <a:pt x="6028" y="1894"/>
                  </a:cubicBezTo>
                  <a:cubicBezTo>
                    <a:pt x="6099" y="1894"/>
                    <a:pt x="6099" y="1894"/>
                    <a:pt x="6099" y="1894"/>
                  </a:cubicBezTo>
                  <a:cubicBezTo>
                    <a:pt x="5957" y="2132"/>
                    <a:pt x="5957" y="2132"/>
                    <a:pt x="5957" y="2132"/>
                  </a:cubicBezTo>
                  <a:cubicBezTo>
                    <a:pt x="5907" y="2229"/>
                    <a:pt x="5907" y="2229"/>
                    <a:pt x="5907" y="2229"/>
                  </a:cubicBezTo>
                  <a:cubicBezTo>
                    <a:pt x="5835" y="2229"/>
                    <a:pt x="5835" y="2229"/>
                    <a:pt x="5835" y="2229"/>
                  </a:cubicBezTo>
                  <a:cubicBezTo>
                    <a:pt x="5886" y="2137"/>
                    <a:pt x="5886" y="2137"/>
                    <a:pt x="5886" y="2137"/>
                  </a:cubicBezTo>
                  <a:cubicBezTo>
                    <a:pt x="5844" y="1894"/>
                    <a:pt x="5844" y="1894"/>
                    <a:pt x="5844" y="1894"/>
                  </a:cubicBezTo>
                  <a:lnTo>
                    <a:pt x="5921" y="189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15"/>
            <p:cNvSpPr>
              <a:spLocks noEditPoints="1"/>
            </p:cNvSpPr>
            <p:nvPr userDrawn="1"/>
          </p:nvSpPr>
          <p:spPr bwMode="auto">
            <a:xfrm>
              <a:off x="-2592388" y="0"/>
              <a:ext cx="2592388" cy="1530350"/>
            </a:xfrm>
            <a:custGeom>
              <a:avLst/>
              <a:gdLst/>
              <a:ahLst/>
              <a:cxnLst>
                <a:cxn ang="0">
                  <a:pos x="176" y="248"/>
                </a:cxn>
                <a:cxn ang="0">
                  <a:pos x="0" y="248"/>
                </a:cxn>
                <a:cxn ang="0">
                  <a:pos x="0" y="0"/>
                </a:cxn>
                <a:cxn ang="0">
                  <a:pos x="176" y="0"/>
                </a:cxn>
                <a:cxn ang="0">
                  <a:pos x="176" y="248"/>
                </a:cxn>
                <a:cxn ang="0">
                  <a:pos x="176" y="716"/>
                </a:cxn>
                <a:cxn ang="0">
                  <a:pos x="0" y="716"/>
                </a:cxn>
                <a:cxn ang="0">
                  <a:pos x="0" y="964"/>
                </a:cxn>
                <a:cxn ang="0">
                  <a:pos x="176" y="964"/>
                </a:cxn>
                <a:cxn ang="0">
                  <a:pos x="176" y="716"/>
                </a:cxn>
                <a:cxn ang="0">
                  <a:pos x="1633" y="0"/>
                </a:cxn>
                <a:cxn ang="0">
                  <a:pos x="1457" y="0"/>
                </a:cxn>
                <a:cxn ang="0">
                  <a:pos x="1457" y="248"/>
                </a:cxn>
                <a:cxn ang="0">
                  <a:pos x="1633" y="248"/>
                </a:cxn>
                <a:cxn ang="0">
                  <a:pos x="1633" y="0"/>
                </a:cxn>
                <a:cxn ang="0">
                  <a:pos x="1633" y="716"/>
                </a:cxn>
                <a:cxn ang="0">
                  <a:pos x="1457" y="716"/>
                </a:cxn>
                <a:cxn ang="0">
                  <a:pos x="1457" y="964"/>
                </a:cxn>
                <a:cxn ang="0">
                  <a:pos x="1633" y="964"/>
                </a:cxn>
                <a:cxn ang="0">
                  <a:pos x="1633" y="716"/>
                </a:cxn>
              </a:cxnLst>
              <a:rect l="0" t="0" r="r" b="b"/>
              <a:pathLst>
                <a:path w="1633" h="964">
                  <a:moveTo>
                    <a:pt x="176" y="248"/>
                  </a:moveTo>
                  <a:lnTo>
                    <a:pt x="0" y="248"/>
                  </a:lnTo>
                  <a:lnTo>
                    <a:pt x="0" y="0"/>
                  </a:lnTo>
                  <a:lnTo>
                    <a:pt x="176" y="0"/>
                  </a:lnTo>
                  <a:lnTo>
                    <a:pt x="176" y="248"/>
                  </a:lnTo>
                  <a:close/>
                  <a:moveTo>
                    <a:pt x="176" y="716"/>
                  </a:moveTo>
                  <a:lnTo>
                    <a:pt x="0" y="716"/>
                  </a:lnTo>
                  <a:lnTo>
                    <a:pt x="0" y="964"/>
                  </a:lnTo>
                  <a:lnTo>
                    <a:pt x="176" y="964"/>
                  </a:lnTo>
                  <a:lnTo>
                    <a:pt x="176" y="716"/>
                  </a:lnTo>
                  <a:close/>
                  <a:moveTo>
                    <a:pt x="1633" y="0"/>
                  </a:moveTo>
                  <a:lnTo>
                    <a:pt x="1457" y="0"/>
                  </a:lnTo>
                  <a:lnTo>
                    <a:pt x="1457" y="248"/>
                  </a:lnTo>
                  <a:lnTo>
                    <a:pt x="1633" y="248"/>
                  </a:lnTo>
                  <a:lnTo>
                    <a:pt x="1633" y="0"/>
                  </a:lnTo>
                  <a:close/>
                  <a:moveTo>
                    <a:pt x="1633" y="716"/>
                  </a:moveTo>
                  <a:lnTo>
                    <a:pt x="1457" y="716"/>
                  </a:lnTo>
                  <a:lnTo>
                    <a:pt x="1457" y="964"/>
                  </a:lnTo>
                  <a:lnTo>
                    <a:pt x="1633" y="964"/>
                  </a:lnTo>
                  <a:lnTo>
                    <a:pt x="1633" y="716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8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24708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 41"/>
          <p:cNvSpPr>
            <a:spLocks/>
          </p:cNvSpPr>
          <p:nvPr userDrawn="1"/>
        </p:nvSpPr>
        <p:spPr bwMode="gray">
          <a:xfrm>
            <a:off x="3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Enter Project Tit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latin typeface="+mn-lt"/>
              </a:rPr>
              <a:t>Enter Sub-title</a:t>
            </a:r>
          </a:p>
        </p:txBody>
      </p:sp>
      <p:pic>
        <p:nvPicPr>
          <p:cNvPr id="9" name="Picture 8" descr="KPMG_Plus_Strapline_NormalUse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850" y="-1"/>
            <a:ext cx="2814733" cy="152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319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/>
          <p:nvPr userDrawn="1"/>
        </p:nvGrpSpPr>
        <p:grpSpPr bwMode="gray">
          <a:xfrm>
            <a:off x="-11110" y="-1"/>
            <a:ext cx="9917112" cy="6858001"/>
            <a:chOff x="-10601325" y="-457200"/>
            <a:chExt cx="9917112" cy="6858001"/>
          </a:xfrm>
        </p:grpSpPr>
        <p:sp>
          <p:nvSpPr>
            <p:cNvPr id="14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gray">
            <a:xfrm>
              <a:off x="-8240713" y="1362075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gray">
            <a:xfrm>
              <a:off x="-7169150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0" name="Title 9"/>
          <p:cNvSpPr>
            <a:spLocks noGrp="1"/>
          </p:cNvSpPr>
          <p:nvPr userDrawn="1">
            <p:ph type="title" hasCustomPrompt="1"/>
            <p:custDataLst>
              <p:tags r:id="rId1"/>
            </p:custDataLst>
          </p:nvPr>
        </p:nvSpPr>
        <p:spPr bwMode="gray">
          <a:xfrm>
            <a:off x="5025008" y="2492896"/>
            <a:ext cx="4536504" cy="223224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Enter Project Title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25008" y="5013176"/>
            <a:ext cx="4536504" cy="1512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r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 smtClean="0">
                <a:latin typeface="+mn-lt"/>
              </a:rPr>
              <a:t>Enter Sub-title</a:t>
            </a:r>
          </a:p>
        </p:txBody>
      </p:sp>
      <p:pic>
        <p:nvPicPr>
          <p:cNvPr id="11" name="Picture 10" descr="KPMG_Plus_Strapline_NormalUse_White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7850" y="0"/>
            <a:ext cx="2814733" cy="1526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226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289175" y="6421438"/>
            <a:ext cx="2591818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3050" y="6421438"/>
            <a:ext cx="1727200" cy="17591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4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Foot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</p:spPr>
        <p:txBody>
          <a:bodyPr/>
          <a:lstStyle>
            <a:lvl1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tabLst>
                <a:tab pos="4572000" algn="r"/>
              </a:tabLst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69026" y="1557342"/>
            <a:ext cx="4455989" cy="4535487"/>
          </a:xfrm>
          <a:ln>
            <a:solidFill>
              <a:schemeClr val="accent4"/>
            </a:solidFill>
          </a:ln>
        </p:spPr>
        <p:txBody>
          <a:bodyPr lIns="72000" tIns="72000" rIns="72000" bIns="7200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400"/>
              </a:spcBef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400"/>
              </a:spcBef>
              <a:buClrTx/>
              <a:defRPr sz="700">
                <a:solidFill>
                  <a:srgbClr val="00338D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336"/>
              </a:spcBef>
              <a:buClrTx/>
              <a:defRPr sz="700" baseline="0">
                <a:solidFill>
                  <a:srgbClr val="00338D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Important Notic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2" name="Group 18"/>
          <p:cNvGrpSpPr/>
          <p:nvPr userDrawn="1"/>
        </p:nvGrpSpPr>
        <p:grpSpPr bwMode="gray">
          <a:xfrm>
            <a:off x="175520" y="1"/>
            <a:ext cx="963613" cy="695325"/>
            <a:chOff x="175518" y="0"/>
            <a:chExt cx="963613" cy="695325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28" name="Text Placeholder 4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527226" y="548684"/>
            <a:ext cx="1345654" cy="50482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Enter tel.</a:t>
            </a:r>
            <a:endParaRPr lang="en-GB" dirty="0"/>
          </a:p>
        </p:txBody>
      </p:sp>
      <p:sp>
        <p:nvSpPr>
          <p:cNvPr id="29" name="Text Placeholder 4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1136578" y="548684"/>
            <a:ext cx="1390650" cy="50482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700" b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buClrTx/>
              <a:defRPr sz="700">
                <a:solidFill>
                  <a:schemeClr val="tx1"/>
                </a:solidFill>
                <a:latin typeface="+mn-lt"/>
                <a:cs typeface="Times New Roman" pitchFamily="18" charset="0"/>
              </a:defRPr>
            </a:lvl5pPr>
            <a:lvl6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6pPr>
            <a:lvl7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7pPr>
            <a:lvl8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8pPr>
            <a:lvl9pPr>
              <a:lnSpc>
                <a:spcPct val="100000"/>
              </a:lnSpc>
              <a:spcBef>
                <a:spcPts val="0"/>
              </a:spcBef>
              <a:buClrTx/>
              <a:defRPr sz="700" baseline="0">
                <a:solidFill>
                  <a:schemeClr val="tx1"/>
                </a:solidFill>
                <a:latin typeface="+mn-lt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Enter addres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88973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273052" y="1557342"/>
            <a:ext cx="4607941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169024" y="1557342"/>
            <a:ext cx="4457577" cy="453548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>
              <a:buClrTx/>
              <a:defRPr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2"/>
          </p:nvPr>
        </p:nvSpPr>
        <p:spPr bwMode="gray">
          <a:xfrm>
            <a:off x="5457058" y="548680"/>
            <a:ext cx="4175894" cy="503584"/>
          </a:xfrm>
        </p:spPr>
        <p:txBody>
          <a:bodyPr/>
          <a:lstStyle>
            <a:lvl1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1pPr>
            <a:lvl2pPr algn="r"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2pPr>
            <a:lvl3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3pPr>
            <a:lvl4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4pPr>
            <a:lvl5pPr algn="r">
              <a:buClrTx/>
              <a:defRPr b="0" i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5pPr>
            <a:lvl6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 algn="r">
              <a:buClrTx/>
              <a:defRPr b="0" i="1"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1"/>
          <p:cNvGrpSpPr/>
          <p:nvPr userDrawn="1"/>
        </p:nvGrpSpPr>
        <p:grpSpPr bwMode="gray">
          <a:xfrm>
            <a:off x="175520" y="1"/>
            <a:ext cx="963613" cy="695325"/>
            <a:chOff x="175518" y="0"/>
            <a:chExt cx="963613" cy="6953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82635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052" y="785562"/>
            <a:ext cx="4607940" cy="5672386"/>
          </a:xfrm>
          <a:ln>
            <a:solidFill>
              <a:schemeClr val="accent4"/>
            </a:solidFill>
          </a:ln>
        </p:spPr>
        <p:txBody>
          <a:bodyPr vert="horz" lIns="72000" tIns="72000" rIns="72000" bIns="72000" rtlCol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1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1pPr>
            <a:lvl2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2pPr>
            <a:lvl3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GB" sz="700" b="0" kern="1200" noProof="0" dirty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Important Notic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169024" y="785563"/>
            <a:ext cx="4457577" cy="5672385"/>
          </a:xfrm>
          <a:ln>
            <a:solidFill>
              <a:schemeClr val="accent4"/>
            </a:solidFill>
          </a:ln>
        </p:spPr>
        <p:txBody>
          <a:bodyPr vert="horz" lIns="72000" tIns="72000" rIns="72000" bIns="72000" rtlCol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1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1pPr>
            <a:lvl2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2pPr>
            <a:lvl3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3pPr>
            <a:lvl4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US" sz="700" b="0" kern="1200" noProof="0" dirty="0" smtClean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Tx/>
              <a:buFont typeface="Arial" pitchFamily="34" charset="0"/>
              <a:defRPr lang="en-GB" sz="700" b="0" kern="1200" noProof="0" dirty="0">
                <a:solidFill>
                  <a:srgbClr val="00338D"/>
                </a:solidFill>
                <a:latin typeface="+mn-lt"/>
                <a:ea typeface="+mn-ea"/>
                <a:cs typeface="Times New Roman" pitchFamily="18" charset="0"/>
              </a:defRPr>
            </a:lvl5pPr>
            <a:lvl6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6pPr>
            <a:lvl7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7pPr>
            <a:lvl8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8pPr>
            <a:lvl9pPr>
              <a:buClrTx/>
              <a:defRPr baseline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defRPr>
            </a:lvl9pPr>
          </a:lstStyle>
          <a:p>
            <a:pPr lvl="0"/>
            <a:r>
              <a:rPr lang="en-US" dirty="0" smtClean="0"/>
              <a:t>Click to edit Important Notic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2" name="Group 11"/>
          <p:cNvGrpSpPr/>
          <p:nvPr userDrawn="1"/>
        </p:nvGrpSpPr>
        <p:grpSpPr bwMode="gray">
          <a:xfrm>
            <a:off x="175520" y="1"/>
            <a:ext cx="963613" cy="695325"/>
            <a:chOff x="175518" y="0"/>
            <a:chExt cx="963613" cy="69532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286643" y="215900"/>
              <a:ext cx="700088" cy="271463"/>
            </a:xfrm>
            <a:custGeom>
              <a:avLst/>
              <a:gdLst/>
              <a:ahLst/>
              <a:cxnLst>
                <a:cxn ang="0">
                  <a:pos x="6130" y="2584"/>
                </a:cxn>
                <a:cxn ang="0">
                  <a:pos x="6106" y="2594"/>
                </a:cxn>
                <a:cxn ang="0">
                  <a:pos x="5549" y="2661"/>
                </a:cxn>
                <a:cxn ang="0">
                  <a:pos x="5025" y="2423"/>
                </a:cxn>
                <a:cxn ang="0">
                  <a:pos x="4926" y="2101"/>
                </a:cxn>
                <a:cxn ang="0">
                  <a:pos x="4756" y="2101"/>
                </a:cxn>
                <a:cxn ang="0">
                  <a:pos x="4625" y="2625"/>
                </a:cxn>
                <a:cxn ang="0">
                  <a:pos x="4182" y="2625"/>
                </a:cxn>
                <a:cxn ang="0">
                  <a:pos x="4338" y="2101"/>
                </a:cxn>
                <a:cxn ang="0">
                  <a:pos x="4197" y="2101"/>
                </a:cxn>
                <a:cxn ang="0">
                  <a:pos x="3859" y="2625"/>
                </a:cxn>
                <a:cxn ang="0">
                  <a:pos x="3503" y="2625"/>
                </a:cxn>
                <a:cxn ang="0">
                  <a:pos x="3471" y="2101"/>
                </a:cxn>
                <a:cxn ang="0">
                  <a:pos x="3314" y="2101"/>
                </a:cxn>
                <a:cxn ang="0">
                  <a:pos x="3159" y="2625"/>
                </a:cxn>
                <a:cxn ang="0">
                  <a:pos x="2780" y="2625"/>
                </a:cxn>
                <a:cxn ang="0">
                  <a:pos x="2940" y="2101"/>
                </a:cxn>
                <a:cxn ang="0">
                  <a:pos x="2047" y="2101"/>
                </a:cxn>
                <a:cxn ang="0">
                  <a:pos x="2047" y="2093"/>
                </a:cxn>
                <a:cxn ang="0">
                  <a:pos x="1888" y="2626"/>
                </a:cxn>
                <a:cxn ang="0">
                  <a:pos x="1484" y="2626"/>
                </a:cxn>
                <a:cxn ang="0">
                  <a:pos x="1642" y="2101"/>
                </a:cxn>
                <a:cxn ang="0">
                  <a:pos x="1148" y="2101"/>
                </a:cxn>
                <a:cxn ang="0">
                  <a:pos x="1394" y="2626"/>
                </a:cxn>
                <a:cxn ang="0">
                  <a:pos x="927" y="2626"/>
                </a:cxn>
                <a:cxn ang="0">
                  <a:pos x="715" y="2101"/>
                </a:cxn>
                <a:cxn ang="0">
                  <a:pos x="588" y="2101"/>
                </a:cxn>
                <a:cxn ang="0">
                  <a:pos x="442" y="2583"/>
                </a:cxn>
                <a:cxn ang="0">
                  <a:pos x="434" y="2626"/>
                </a:cxn>
                <a:cxn ang="0">
                  <a:pos x="0" y="2626"/>
                </a:cxn>
                <a:cxn ang="0">
                  <a:pos x="397" y="1303"/>
                </a:cxn>
                <a:cxn ang="0">
                  <a:pos x="397" y="0"/>
                </a:cxn>
                <a:cxn ang="0">
                  <a:pos x="1888" y="0"/>
                </a:cxn>
                <a:cxn ang="0">
                  <a:pos x="1888" y="1287"/>
                </a:cxn>
                <a:cxn ang="0">
                  <a:pos x="1944" y="1098"/>
                </a:cxn>
                <a:cxn ang="0">
                  <a:pos x="2047" y="1098"/>
                </a:cxn>
                <a:cxn ang="0">
                  <a:pos x="2047" y="0"/>
                </a:cxn>
                <a:cxn ang="0">
                  <a:pos x="3534" y="0"/>
                </a:cxn>
                <a:cxn ang="0">
                  <a:pos x="3534" y="1098"/>
                </a:cxn>
                <a:cxn ang="0">
                  <a:pos x="3694" y="1098"/>
                </a:cxn>
                <a:cxn ang="0">
                  <a:pos x="3694" y="0"/>
                </a:cxn>
                <a:cxn ang="0">
                  <a:pos x="5180" y="0"/>
                </a:cxn>
                <a:cxn ang="0">
                  <a:pos x="5180" y="1388"/>
                </a:cxn>
                <a:cxn ang="0">
                  <a:pos x="5340" y="1222"/>
                </a:cxn>
                <a:cxn ang="0">
                  <a:pos x="5340" y="0"/>
                </a:cxn>
                <a:cxn ang="0">
                  <a:pos x="6827" y="0"/>
                </a:cxn>
                <a:cxn ang="0">
                  <a:pos x="6827" y="2101"/>
                </a:cxn>
                <a:cxn ang="0">
                  <a:pos x="6266" y="2101"/>
                </a:cxn>
                <a:cxn ang="0">
                  <a:pos x="6130" y="2584"/>
                </a:cxn>
                <a:cxn ang="0">
                  <a:pos x="5342" y="2101"/>
                </a:cxn>
                <a:cxn ang="0">
                  <a:pos x="5386" y="2264"/>
                </a:cxn>
                <a:cxn ang="0">
                  <a:pos x="5610" y="2349"/>
                </a:cxn>
                <a:cxn ang="0">
                  <a:pos x="5788" y="2330"/>
                </a:cxn>
                <a:cxn ang="0">
                  <a:pos x="5861" y="2101"/>
                </a:cxn>
                <a:cxn ang="0">
                  <a:pos x="5342" y="2101"/>
                </a:cxn>
              </a:cxnLst>
              <a:rect l="0" t="0" r="r" b="b"/>
              <a:pathLst>
                <a:path w="6827" h="2661">
                  <a:moveTo>
                    <a:pt x="6130" y="2584"/>
                  </a:moveTo>
                  <a:cubicBezTo>
                    <a:pt x="6106" y="2594"/>
                    <a:pt x="6106" y="2594"/>
                    <a:pt x="6106" y="2594"/>
                  </a:cubicBezTo>
                  <a:cubicBezTo>
                    <a:pt x="6010" y="2632"/>
                    <a:pt x="5728" y="2661"/>
                    <a:pt x="5549" y="2661"/>
                  </a:cubicBezTo>
                  <a:cubicBezTo>
                    <a:pt x="5381" y="2661"/>
                    <a:pt x="5156" y="2599"/>
                    <a:pt x="5025" y="2423"/>
                  </a:cubicBezTo>
                  <a:cubicBezTo>
                    <a:pt x="4975" y="2355"/>
                    <a:pt x="4927" y="2250"/>
                    <a:pt x="4926" y="2101"/>
                  </a:cubicBezTo>
                  <a:cubicBezTo>
                    <a:pt x="4756" y="2101"/>
                    <a:pt x="4756" y="2101"/>
                    <a:pt x="4756" y="2101"/>
                  </a:cubicBezTo>
                  <a:cubicBezTo>
                    <a:pt x="4625" y="2625"/>
                    <a:pt x="4625" y="2625"/>
                    <a:pt x="4625" y="2625"/>
                  </a:cubicBezTo>
                  <a:cubicBezTo>
                    <a:pt x="4182" y="2625"/>
                    <a:pt x="4182" y="2625"/>
                    <a:pt x="4182" y="2625"/>
                  </a:cubicBezTo>
                  <a:cubicBezTo>
                    <a:pt x="4338" y="2101"/>
                    <a:pt x="4338" y="2101"/>
                    <a:pt x="4338" y="2101"/>
                  </a:cubicBezTo>
                  <a:cubicBezTo>
                    <a:pt x="4197" y="2101"/>
                    <a:pt x="4197" y="2101"/>
                    <a:pt x="4197" y="2101"/>
                  </a:cubicBezTo>
                  <a:cubicBezTo>
                    <a:pt x="3859" y="2625"/>
                    <a:pt x="3859" y="2625"/>
                    <a:pt x="3859" y="2625"/>
                  </a:cubicBezTo>
                  <a:cubicBezTo>
                    <a:pt x="3503" y="2625"/>
                    <a:pt x="3503" y="2625"/>
                    <a:pt x="3503" y="2625"/>
                  </a:cubicBezTo>
                  <a:cubicBezTo>
                    <a:pt x="3471" y="2101"/>
                    <a:pt x="3471" y="2101"/>
                    <a:pt x="3471" y="2101"/>
                  </a:cubicBezTo>
                  <a:cubicBezTo>
                    <a:pt x="3314" y="2101"/>
                    <a:pt x="3314" y="2101"/>
                    <a:pt x="3314" y="2101"/>
                  </a:cubicBezTo>
                  <a:cubicBezTo>
                    <a:pt x="3159" y="2625"/>
                    <a:pt x="3159" y="2625"/>
                    <a:pt x="3159" y="2625"/>
                  </a:cubicBezTo>
                  <a:cubicBezTo>
                    <a:pt x="2780" y="2625"/>
                    <a:pt x="2780" y="2625"/>
                    <a:pt x="2780" y="2625"/>
                  </a:cubicBezTo>
                  <a:cubicBezTo>
                    <a:pt x="2940" y="2101"/>
                    <a:pt x="2940" y="2101"/>
                    <a:pt x="2940" y="2101"/>
                  </a:cubicBezTo>
                  <a:cubicBezTo>
                    <a:pt x="2047" y="2101"/>
                    <a:pt x="2047" y="2101"/>
                    <a:pt x="2047" y="2101"/>
                  </a:cubicBezTo>
                  <a:cubicBezTo>
                    <a:pt x="2047" y="2093"/>
                    <a:pt x="2047" y="2093"/>
                    <a:pt x="2047" y="2093"/>
                  </a:cubicBezTo>
                  <a:cubicBezTo>
                    <a:pt x="1888" y="2626"/>
                    <a:pt x="1888" y="2626"/>
                    <a:pt x="1888" y="2626"/>
                  </a:cubicBezTo>
                  <a:cubicBezTo>
                    <a:pt x="1484" y="2626"/>
                    <a:pt x="1484" y="2626"/>
                    <a:pt x="1484" y="2626"/>
                  </a:cubicBezTo>
                  <a:cubicBezTo>
                    <a:pt x="1642" y="2101"/>
                    <a:pt x="1642" y="2101"/>
                    <a:pt x="1642" y="2101"/>
                  </a:cubicBezTo>
                  <a:cubicBezTo>
                    <a:pt x="1148" y="2101"/>
                    <a:pt x="1148" y="2101"/>
                    <a:pt x="1148" y="2101"/>
                  </a:cubicBezTo>
                  <a:cubicBezTo>
                    <a:pt x="1394" y="2626"/>
                    <a:pt x="1394" y="2626"/>
                    <a:pt x="1394" y="2626"/>
                  </a:cubicBezTo>
                  <a:cubicBezTo>
                    <a:pt x="927" y="2626"/>
                    <a:pt x="927" y="2626"/>
                    <a:pt x="927" y="2626"/>
                  </a:cubicBezTo>
                  <a:cubicBezTo>
                    <a:pt x="715" y="2101"/>
                    <a:pt x="715" y="2101"/>
                    <a:pt x="715" y="2101"/>
                  </a:cubicBezTo>
                  <a:cubicBezTo>
                    <a:pt x="588" y="2101"/>
                    <a:pt x="588" y="2101"/>
                    <a:pt x="588" y="2101"/>
                  </a:cubicBezTo>
                  <a:cubicBezTo>
                    <a:pt x="509" y="2359"/>
                    <a:pt x="447" y="2567"/>
                    <a:pt x="442" y="2583"/>
                  </a:cubicBezTo>
                  <a:cubicBezTo>
                    <a:pt x="434" y="2626"/>
                    <a:pt x="434" y="2626"/>
                    <a:pt x="434" y="2626"/>
                  </a:cubicBezTo>
                  <a:cubicBezTo>
                    <a:pt x="0" y="2626"/>
                    <a:pt x="0" y="2626"/>
                    <a:pt x="0" y="2626"/>
                  </a:cubicBezTo>
                  <a:cubicBezTo>
                    <a:pt x="397" y="1303"/>
                    <a:pt x="397" y="1303"/>
                    <a:pt x="397" y="1303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1888" y="0"/>
                    <a:pt x="1888" y="0"/>
                    <a:pt x="1888" y="0"/>
                  </a:cubicBezTo>
                  <a:cubicBezTo>
                    <a:pt x="1888" y="1287"/>
                    <a:pt x="1888" y="1287"/>
                    <a:pt x="1888" y="1287"/>
                  </a:cubicBezTo>
                  <a:cubicBezTo>
                    <a:pt x="1944" y="1098"/>
                    <a:pt x="1944" y="1098"/>
                    <a:pt x="1944" y="1098"/>
                  </a:cubicBezTo>
                  <a:cubicBezTo>
                    <a:pt x="2047" y="1098"/>
                    <a:pt x="2047" y="1098"/>
                    <a:pt x="2047" y="1098"/>
                  </a:cubicBezTo>
                  <a:cubicBezTo>
                    <a:pt x="2047" y="0"/>
                    <a:pt x="2047" y="0"/>
                    <a:pt x="2047" y="0"/>
                  </a:cubicBezTo>
                  <a:cubicBezTo>
                    <a:pt x="3534" y="0"/>
                    <a:pt x="3534" y="0"/>
                    <a:pt x="3534" y="0"/>
                  </a:cubicBezTo>
                  <a:cubicBezTo>
                    <a:pt x="3534" y="1098"/>
                    <a:pt x="3534" y="1098"/>
                    <a:pt x="3534" y="1098"/>
                  </a:cubicBezTo>
                  <a:cubicBezTo>
                    <a:pt x="3694" y="1098"/>
                    <a:pt x="3694" y="1098"/>
                    <a:pt x="3694" y="1098"/>
                  </a:cubicBezTo>
                  <a:cubicBezTo>
                    <a:pt x="3694" y="0"/>
                    <a:pt x="3694" y="0"/>
                    <a:pt x="3694" y="0"/>
                  </a:cubicBezTo>
                  <a:cubicBezTo>
                    <a:pt x="5180" y="0"/>
                    <a:pt x="5180" y="0"/>
                    <a:pt x="5180" y="0"/>
                  </a:cubicBezTo>
                  <a:cubicBezTo>
                    <a:pt x="5180" y="1388"/>
                    <a:pt x="5180" y="1388"/>
                    <a:pt x="5180" y="1388"/>
                  </a:cubicBezTo>
                  <a:cubicBezTo>
                    <a:pt x="5231" y="1319"/>
                    <a:pt x="5285" y="1264"/>
                    <a:pt x="5340" y="1222"/>
                  </a:cubicBezTo>
                  <a:cubicBezTo>
                    <a:pt x="5340" y="0"/>
                    <a:pt x="5340" y="0"/>
                    <a:pt x="5340" y="0"/>
                  </a:cubicBezTo>
                  <a:cubicBezTo>
                    <a:pt x="6827" y="0"/>
                    <a:pt x="6827" y="0"/>
                    <a:pt x="6827" y="0"/>
                  </a:cubicBezTo>
                  <a:cubicBezTo>
                    <a:pt x="6827" y="2101"/>
                    <a:pt x="6827" y="2101"/>
                    <a:pt x="6827" y="2101"/>
                  </a:cubicBezTo>
                  <a:cubicBezTo>
                    <a:pt x="6266" y="2101"/>
                    <a:pt x="6266" y="2101"/>
                    <a:pt x="6266" y="2101"/>
                  </a:cubicBezTo>
                  <a:lnTo>
                    <a:pt x="6130" y="2584"/>
                  </a:lnTo>
                  <a:close/>
                  <a:moveTo>
                    <a:pt x="5342" y="2101"/>
                  </a:moveTo>
                  <a:cubicBezTo>
                    <a:pt x="5344" y="2169"/>
                    <a:pt x="5356" y="2226"/>
                    <a:pt x="5386" y="2264"/>
                  </a:cubicBezTo>
                  <a:cubicBezTo>
                    <a:pt x="5429" y="2321"/>
                    <a:pt x="5503" y="2349"/>
                    <a:pt x="5610" y="2349"/>
                  </a:cubicBezTo>
                  <a:cubicBezTo>
                    <a:pt x="5728" y="2349"/>
                    <a:pt x="5773" y="2336"/>
                    <a:pt x="5788" y="2330"/>
                  </a:cubicBezTo>
                  <a:cubicBezTo>
                    <a:pt x="5861" y="2101"/>
                    <a:pt x="5861" y="2101"/>
                    <a:pt x="5861" y="2101"/>
                  </a:cubicBezTo>
                  <a:lnTo>
                    <a:pt x="5342" y="2101"/>
                  </a:lnTo>
                  <a:close/>
                </a:path>
              </a:pathLst>
            </a:custGeom>
            <a:solidFill>
              <a:srgbClr val="0033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294581" y="330200"/>
              <a:ext cx="650875" cy="152400"/>
            </a:xfrm>
            <a:custGeom>
              <a:avLst/>
              <a:gdLst/>
              <a:ahLst/>
              <a:cxnLst>
                <a:cxn ang="0">
                  <a:pos x="2581" y="459"/>
                </a:cxn>
                <a:cxn ang="0">
                  <a:pos x="2254" y="682"/>
                </a:cxn>
                <a:cxn ang="0">
                  <a:pos x="2000" y="681"/>
                </a:cxn>
                <a:cxn ang="0">
                  <a:pos x="2130" y="234"/>
                </a:cxn>
                <a:cxn ang="0">
                  <a:pos x="2581" y="459"/>
                </a:cxn>
                <a:cxn ang="0">
                  <a:pos x="749" y="30"/>
                </a:cxn>
                <a:cxn ang="0">
                  <a:pos x="427" y="30"/>
                </a:cxn>
                <a:cxn ang="0">
                  <a:pos x="0" y="1452"/>
                </a:cxn>
                <a:cxn ang="0">
                  <a:pos x="319" y="1452"/>
                </a:cxn>
                <a:cxn ang="0">
                  <a:pos x="749" y="30"/>
                </a:cxn>
                <a:cxn ang="0">
                  <a:pos x="1585" y="30"/>
                </a:cxn>
                <a:cxn ang="0">
                  <a:pos x="1194" y="30"/>
                </a:cxn>
                <a:cxn ang="0">
                  <a:pos x="571" y="658"/>
                </a:cxn>
                <a:cxn ang="0">
                  <a:pos x="571" y="657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571" y="658"/>
                </a:cxn>
                <a:cxn ang="0">
                  <a:pos x="892" y="1452"/>
                </a:cxn>
                <a:cxn ang="0">
                  <a:pos x="1239" y="1452"/>
                </a:cxn>
                <a:cxn ang="0">
                  <a:pos x="881" y="688"/>
                </a:cxn>
                <a:cxn ang="0">
                  <a:pos x="1585" y="30"/>
                </a:cxn>
                <a:cxn ang="0">
                  <a:pos x="2875" y="459"/>
                </a:cxn>
                <a:cxn ang="0">
                  <a:pos x="2275" y="30"/>
                </a:cxn>
                <a:cxn ang="0">
                  <a:pos x="1913" y="30"/>
                </a:cxn>
                <a:cxn ang="0">
                  <a:pos x="1484" y="1452"/>
                </a:cxn>
                <a:cxn ang="0">
                  <a:pos x="1777" y="1452"/>
                </a:cxn>
                <a:cxn ang="0">
                  <a:pos x="1945" y="890"/>
                </a:cxn>
                <a:cxn ang="0">
                  <a:pos x="2179" y="890"/>
                </a:cxn>
                <a:cxn ang="0">
                  <a:pos x="2875" y="459"/>
                </a:cxn>
                <a:cxn ang="0">
                  <a:pos x="4866" y="30"/>
                </a:cxn>
                <a:cxn ang="0">
                  <a:pos x="4400" y="30"/>
                </a:cxn>
                <a:cxn ang="0">
                  <a:pos x="3694" y="1259"/>
                </a:cxn>
                <a:cxn ang="0">
                  <a:pos x="3678" y="30"/>
                </a:cxn>
                <a:cxn ang="0">
                  <a:pos x="3216" y="30"/>
                </a:cxn>
                <a:cxn ang="0">
                  <a:pos x="2781" y="1451"/>
                </a:cxn>
                <a:cxn ang="0">
                  <a:pos x="3048" y="1451"/>
                </a:cxn>
                <a:cxn ang="0">
                  <a:pos x="3408" y="234"/>
                </a:cxn>
                <a:cxn ang="0">
                  <a:pos x="3482" y="1451"/>
                </a:cxn>
                <a:cxn ang="0">
                  <a:pos x="3758" y="1451"/>
                </a:cxn>
                <a:cxn ang="0">
                  <a:pos x="4544" y="234"/>
                </a:cxn>
                <a:cxn ang="0">
                  <a:pos x="4183" y="1451"/>
                </a:cxn>
                <a:cxn ang="0">
                  <a:pos x="4512" y="1451"/>
                </a:cxn>
                <a:cxn ang="0">
                  <a:pos x="4866" y="30"/>
                </a:cxn>
                <a:cxn ang="0">
                  <a:pos x="5792" y="0"/>
                </a:cxn>
                <a:cxn ang="0">
                  <a:pos x="4947" y="735"/>
                </a:cxn>
                <a:cxn ang="0">
                  <a:pos x="5478" y="1487"/>
                </a:cxn>
                <a:cxn ang="0">
                  <a:pos x="6015" y="1424"/>
                </a:cxn>
                <a:cxn ang="0">
                  <a:pos x="6217" y="706"/>
                </a:cxn>
                <a:cxn ang="0">
                  <a:pos x="5614" y="706"/>
                </a:cxn>
                <a:cxn ang="0">
                  <a:pos x="5547" y="920"/>
                </a:cxn>
                <a:cxn ang="0">
                  <a:pos x="5865" y="920"/>
                </a:cxn>
                <a:cxn ang="0">
                  <a:pos x="5766" y="1232"/>
                </a:cxn>
                <a:cxn ang="0">
                  <a:pos x="5540" y="1282"/>
                </a:cxn>
                <a:cxn ang="0">
                  <a:pos x="5254" y="727"/>
                </a:cxn>
                <a:cxn ang="0">
                  <a:pos x="5764" y="205"/>
                </a:cxn>
                <a:cxn ang="0">
                  <a:pos x="6001" y="451"/>
                </a:cxn>
                <a:cxn ang="0">
                  <a:pos x="5991" y="487"/>
                </a:cxn>
                <a:cxn ang="0">
                  <a:pos x="6284" y="487"/>
                </a:cxn>
                <a:cxn ang="0">
                  <a:pos x="5792" y="0"/>
                </a:cxn>
              </a:cxnLst>
              <a:rect l="0" t="0" r="r" b="b"/>
              <a:pathLst>
                <a:path w="6358" h="1487">
                  <a:moveTo>
                    <a:pt x="2581" y="459"/>
                  </a:moveTo>
                  <a:cubicBezTo>
                    <a:pt x="2533" y="604"/>
                    <a:pt x="2468" y="678"/>
                    <a:pt x="2254" y="682"/>
                  </a:cubicBezTo>
                  <a:cubicBezTo>
                    <a:pt x="2183" y="683"/>
                    <a:pt x="2106" y="681"/>
                    <a:pt x="2000" y="681"/>
                  </a:cubicBezTo>
                  <a:cubicBezTo>
                    <a:pt x="2130" y="234"/>
                    <a:pt x="2130" y="234"/>
                    <a:pt x="2130" y="234"/>
                  </a:cubicBezTo>
                  <a:cubicBezTo>
                    <a:pt x="2451" y="234"/>
                    <a:pt x="2665" y="208"/>
                    <a:pt x="2581" y="459"/>
                  </a:cubicBezTo>
                  <a:moveTo>
                    <a:pt x="749" y="30"/>
                  </a:moveTo>
                  <a:cubicBezTo>
                    <a:pt x="427" y="30"/>
                    <a:pt x="427" y="30"/>
                    <a:pt x="427" y="30"/>
                  </a:cubicBezTo>
                  <a:cubicBezTo>
                    <a:pt x="0" y="1452"/>
                    <a:pt x="0" y="1452"/>
                    <a:pt x="0" y="1452"/>
                  </a:cubicBezTo>
                  <a:cubicBezTo>
                    <a:pt x="319" y="1452"/>
                    <a:pt x="319" y="1452"/>
                    <a:pt x="319" y="1452"/>
                  </a:cubicBezTo>
                  <a:cubicBezTo>
                    <a:pt x="325" y="1422"/>
                    <a:pt x="749" y="30"/>
                    <a:pt x="749" y="30"/>
                  </a:cubicBezTo>
                  <a:moveTo>
                    <a:pt x="1585" y="30"/>
                  </a:moveTo>
                  <a:cubicBezTo>
                    <a:pt x="1194" y="30"/>
                    <a:pt x="1194" y="30"/>
                    <a:pt x="1194" y="30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7"/>
                    <a:pt x="571" y="657"/>
                    <a:pt x="571" y="657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571" y="658"/>
                    <a:pt x="571" y="658"/>
                    <a:pt x="571" y="658"/>
                  </a:cubicBezTo>
                  <a:cubicBezTo>
                    <a:pt x="892" y="1452"/>
                    <a:pt x="892" y="1452"/>
                    <a:pt x="892" y="1452"/>
                  </a:cubicBezTo>
                  <a:cubicBezTo>
                    <a:pt x="1239" y="1452"/>
                    <a:pt x="1239" y="1452"/>
                    <a:pt x="1239" y="1452"/>
                  </a:cubicBezTo>
                  <a:cubicBezTo>
                    <a:pt x="881" y="688"/>
                    <a:pt x="881" y="688"/>
                    <a:pt x="881" y="688"/>
                  </a:cubicBezTo>
                  <a:lnTo>
                    <a:pt x="1585" y="30"/>
                  </a:lnTo>
                  <a:close/>
                  <a:moveTo>
                    <a:pt x="2875" y="459"/>
                  </a:moveTo>
                  <a:cubicBezTo>
                    <a:pt x="2956" y="21"/>
                    <a:pt x="2603" y="26"/>
                    <a:pt x="2275" y="30"/>
                  </a:cubicBezTo>
                  <a:cubicBezTo>
                    <a:pt x="1913" y="30"/>
                    <a:pt x="1913" y="30"/>
                    <a:pt x="1913" y="30"/>
                  </a:cubicBezTo>
                  <a:cubicBezTo>
                    <a:pt x="1484" y="1452"/>
                    <a:pt x="1484" y="1452"/>
                    <a:pt x="1484" y="1452"/>
                  </a:cubicBezTo>
                  <a:cubicBezTo>
                    <a:pt x="1777" y="1452"/>
                    <a:pt x="1777" y="1452"/>
                    <a:pt x="1777" y="1452"/>
                  </a:cubicBezTo>
                  <a:cubicBezTo>
                    <a:pt x="1945" y="890"/>
                    <a:pt x="1945" y="890"/>
                    <a:pt x="1945" y="890"/>
                  </a:cubicBezTo>
                  <a:cubicBezTo>
                    <a:pt x="2179" y="890"/>
                    <a:pt x="2179" y="890"/>
                    <a:pt x="2179" y="890"/>
                  </a:cubicBezTo>
                  <a:cubicBezTo>
                    <a:pt x="2633" y="890"/>
                    <a:pt x="2833" y="689"/>
                    <a:pt x="2875" y="459"/>
                  </a:cubicBezTo>
                  <a:moveTo>
                    <a:pt x="4866" y="30"/>
                  </a:moveTo>
                  <a:cubicBezTo>
                    <a:pt x="4400" y="30"/>
                    <a:pt x="4400" y="30"/>
                    <a:pt x="4400" y="30"/>
                  </a:cubicBezTo>
                  <a:cubicBezTo>
                    <a:pt x="3832" y="817"/>
                    <a:pt x="3694" y="1259"/>
                    <a:pt x="3694" y="1259"/>
                  </a:cubicBezTo>
                  <a:cubicBezTo>
                    <a:pt x="3749" y="759"/>
                    <a:pt x="3678" y="30"/>
                    <a:pt x="3678" y="30"/>
                  </a:cubicBezTo>
                  <a:cubicBezTo>
                    <a:pt x="3216" y="30"/>
                    <a:pt x="3216" y="30"/>
                    <a:pt x="3216" y="30"/>
                  </a:cubicBezTo>
                  <a:cubicBezTo>
                    <a:pt x="2781" y="1451"/>
                    <a:pt x="2781" y="1451"/>
                    <a:pt x="2781" y="1451"/>
                  </a:cubicBezTo>
                  <a:cubicBezTo>
                    <a:pt x="3048" y="1451"/>
                    <a:pt x="3048" y="1451"/>
                    <a:pt x="3048" y="1451"/>
                  </a:cubicBezTo>
                  <a:cubicBezTo>
                    <a:pt x="3408" y="234"/>
                    <a:pt x="3408" y="234"/>
                    <a:pt x="3408" y="234"/>
                  </a:cubicBezTo>
                  <a:cubicBezTo>
                    <a:pt x="3482" y="1451"/>
                    <a:pt x="3482" y="1451"/>
                    <a:pt x="3482" y="1451"/>
                  </a:cubicBezTo>
                  <a:cubicBezTo>
                    <a:pt x="3758" y="1451"/>
                    <a:pt x="3758" y="1451"/>
                    <a:pt x="3758" y="1451"/>
                  </a:cubicBezTo>
                  <a:cubicBezTo>
                    <a:pt x="4544" y="234"/>
                    <a:pt x="4544" y="234"/>
                    <a:pt x="4544" y="234"/>
                  </a:cubicBezTo>
                  <a:cubicBezTo>
                    <a:pt x="4183" y="1451"/>
                    <a:pt x="4183" y="1451"/>
                    <a:pt x="4183" y="1451"/>
                  </a:cubicBezTo>
                  <a:cubicBezTo>
                    <a:pt x="4512" y="1451"/>
                    <a:pt x="4512" y="1451"/>
                    <a:pt x="4512" y="1451"/>
                  </a:cubicBezTo>
                  <a:lnTo>
                    <a:pt x="4866" y="30"/>
                  </a:lnTo>
                  <a:close/>
                  <a:moveTo>
                    <a:pt x="5792" y="0"/>
                  </a:moveTo>
                  <a:cubicBezTo>
                    <a:pt x="5506" y="0"/>
                    <a:pt x="5151" y="64"/>
                    <a:pt x="4947" y="735"/>
                  </a:cubicBezTo>
                  <a:cubicBezTo>
                    <a:pt x="4777" y="1296"/>
                    <a:pt x="5191" y="1487"/>
                    <a:pt x="5478" y="1487"/>
                  </a:cubicBezTo>
                  <a:cubicBezTo>
                    <a:pt x="5667" y="1487"/>
                    <a:pt x="5935" y="1455"/>
                    <a:pt x="6015" y="1424"/>
                  </a:cubicBezTo>
                  <a:cubicBezTo>
                    <a:pt x="6217" y="706"/>
                    <a:pt x="6217" y="706"/>
                    <a:pt x="6217" y="706"/>
                  </a:cubicBezTo>
                  <a:cubicBezTo>
                    <a:pt x="5614" y="706"/>
                    <a:pt x="5614" y="706"/>
                    <a:pt x="5614" y="706"/>
                  </a:cubicBezTo>
                  <a:cubicBezTo>
                    <a:pt x="5547" y="920"/>
                    <a:pt x="5547" y="920"/>
                    <a:pt x="5547" y="920"/>
                  </a:cubicBezTo>
                  <a:cubicBezTo>
                    <a:pt x="5865" y="920"/>
                    <a:pt x="5865" y="920"/>
                    <a:pt x="5865" y="920"/>
                  </a:cubicBezTo>
                  <a:cubicBezTo>
                    <a:pt x="5766" y="1232"/>
                    <a:pt x="5766" y="1232"/>
                    <a:pt x="5766" y="1232"/>
                  </a:cubicBezTo>
                  <a:cubicBezTo>
                    <a:pt x="5766" y="1232"/>
                    <a:pt x="5779" y="1281"/>
                    <a:pt x="5540" y="1282"/>
                  </a:cubicBezTo>
                  <a:cubicBezTo>
                    <a:pt x="5238" y="1283"/>
                    <a:pt x="5155" y="1072"/>
                    <a:pt x="5254" y="727"/>
                  </a:cubicBezTo>
                  <a:cubicBezTo>
                    <a:pt x="5346" y="407"/>
                    <a:pt x="5493" y="192"/>
                    <a:pt x="5764" y="205"/>
                  </a:cubicBezTo>
                  <a:cubicBezTo>
                    <a:pt x="5947" y="214"/>
                    <a:pt x="6052" y="282"/>
                    <a:pt x="6001" y="451"/>
                  </a:cubicBezTo>
                  <a:cubicBezTo>
                    <a:pt x="5998" y="463"/>
                    <a:pt x="5996" y="477"/>
                    <a:pt x="5991" y="487"/>
                  </a:cubicBezTo>
                  <a:cubicBezTo>
                    <a:pt x="6284" y="487"/>
                    <a:pt x="6284" y="487"/>
                    <a:pt x="6284" y="487"/>
                  </a:cubicBezTo>
                  <a:cubicBezTo>
                    <a:pt x="6358" y="270"/>
                    <a:pt x="6210" y="0"/>
                    <a:pt x="5792" y="0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175518" y="0"/>
              <a:ext cx="963613" cy="695325"/>
            </a:xfrm>
            <a:custGeom>
              <a:avLst/>
              <a:gdLst/>
              <a:ahLst/>
              <a:cxnLst>
                <a:cxn ang="0">
                  <a:pos x="607" y="136"/>
                </a:cxn>
                <a:cxn ang="0">
                  <a:pos x="511" y="136"/>
                </a:cxn>
                <a:cxn ang="0">
                  <a:pos x="511" y="0"/>
                </a:cxn>
                <a:cxn ang="0">
                  <a:pos x="607" y="0"/>
                </a:cxn>
                <a:cxn ang="0">
                  <a:pos x="607" y="136"/>
                </a:cxn>
                <a:cxn ang="0">
                  <a:pos x="607" y="302"/>
                </a:cxn>
                <a:cxn ang="0">
                  <a:pos x="511" y="302"/>
                </a:cxn>
                <a:cxn ang="0">
                  <a:pos x="511" y="438"/>
                </a:cxn>
                <a:cxn ang="0">
                  <a:pos x="607" y="438"/>
                </a:cxn>
                <a:cxn ang="0">
                  <a:pos x="607" y="302"/>
                </a:cxn>
                <a:cxn ang="0">
                  <a:pos x="96" y="0"/>
                </a:cxn>
                <a:cxn ang="0">
                  <a:pos x="0" y="0"/>
                </a:cxn>
                <a:cxn ang="0">
                  <a:pos x="0" y="136"/>
                </a:cxn>
                <a:cxn ang="0">
                  <a:pos x="96" y="136"/>
                </a:cxn>
                <a:cxn ang="0">
                  <a:pos x="96" y="0"/>
                </a:cxn>
                <a:cxn ang="0">
                  <a:pos x="96" y="302"/>
                </a:cxn>
                <a:cxn ang="0">
                  <a:pos x="0" y="302"/>
                </a:cxn>
                <a:cxn ang="0">
                  <a:pos x="0" y="438"/>
                </a:cxn>
                <a:cxn ang="0">
                  <a:pos x="96" y="438"/>
                </a:cxn>
                <a:cxn ang="0">
                  <a:pos x="96" y="302"/>
                </a:cxn>
              </a:cxnLst>
              <a:rect l="0" t="0" r="r" b="b"/>
              <a:pathLst>
                <a:path w="607" h="438">
                  <a:moveTo>
                    <a:pt x="607" y="136"/>
                  </a:moveTo>
                  <a:lnTo>
                    <a:pt x="511" y="136"/>
                  </a:lnTo>
                  <a:lnTo>
                    <a:pt x="511" y="0"/>
                  </a:lnTo>
                  <a:lnTo>
                    <a:pt x="607" y="0"/>
                  </a:lnTo>
                  <a:lnTo>
                    <a:pt x="607" y="136"/>
                  </a:lnTo>
                  <a:close/>
                  <a:moveTo>
                    <a:pt x="607" y="302"/>
                  </a:moveTo>
                  <a:lnTo>
                    <a:pt x="511" y="302"/>
                  </a:lnTo>
                  <a:lnTo>
                    <a:pt x="511" y="438"/>
                  </a:lnTo>
                  <a:lnTo>
                    <a:pt x="607" y="438"/>
                  </a:lnTo>
                  <a:lnTo>
                    <a:pt x="607" y="302"/>
                  </a:lnTo>
                  <a:close/>
                  <a:moveTo>
                    <a:pt x="96" y="0"/>
                  </a:moveTo>
                  <a:lnTo>
                    <a:pt x="0" y="0"/>
                  </a:lnTo>
                  <a:lnTo>
                    <a:pt x="0" y="136"/>
                  </a:lnTo>
                  <a:lnTo>
                    <a:pt x="96" y="136"/>
                  </a:lnTo>
                  <a:lnTo>
                    <a:pt x="96" y="0"/>
                  </a:lnTo>
                  <a:close/>
                  <a:moveTo>
                    <a:pt x="96" y="302"/>
                  </a:moveTo>
                  <a:lnTo>
                    <a:pt x="0" y="302"/>
                  </a:lnTo>
                  <a:lnTo>
                    <a:pt x="0" y="438"/>
                  </a:lnTo>
                  <a:lnTo>
                    <a:pt x="96" y="438"/>
                  </a:lnTo>
                  <a:lnTo>
                    <a:pt x="96" y="302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685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2"/>
          </p:nvPr>
        </p:nvSpPr>
        <p:spPr bwMode="gray">
          <a:xfrm>
            <a:off x="2289177" y="1196975"/>
            <a:ext cx="7343775" cy="489585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r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900">
                <a:solidFill>
                  <a:srgbClr val="00338D"/>
                </a:solidFill>
              </a:defRPr>
            </a:lvl1pPr>
            <a:lvl2pPr marL="180975" indent="-18097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b="1">
                <a:solidFill>
                  <a:srgbClr val="00338D"/>
                </a:solidFill>
              </a:defRPr>
            </a:lvl2pPr>
            <a:lvl3pPr marL="3619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>
              <a:lnSpc>
                <a:spcPct val="135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9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8855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hank You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2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50492" y="1412776"/>
            <a:ext cx="4385282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769" b="1" kern="1200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1.0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одержание Проекта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837" y="2708282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844083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1391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8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85585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237648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237648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 bwMode="gray">
          <a:xfrm>
            <a:off x="2289175" y="3716339"/>
            <a:ext cx="3600450" cy="237648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6"/>
          </p:nvPr>
        </p:nvSpPr>
        <p:spPr bwMode="gray">
          <a:xfrm>
            <a:off x="6032500" y="3716339"/>
            <a:ext cx="3600450" cy="237648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0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2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5155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Row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7" y="1196975"/>
            <a:ext cx="7343775" cy="2376488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7" y="3716339"/>
            <a:ext cx="7343775" cy="237648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baseline="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9" name="Title Placeholder 54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Add slide title</a:t>
            </a:r>
            <a:endParaRPr lang="en-GB" dirty="0"/>
          </a:p>
        </p:txBody>
      </p:sp>
      <p:sp>
        <p:nvSpPr>
          <p:cNvPr id="7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511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Row Two Text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2289177" y="3716339"/>
            <a:ext cx="3600447" cy="237648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4" name="Text Placeholder 27"/>
          <p:cNvSpPr>
            <a:spLocks noGrp="1"/>
          </p:cNvSpPr>
          <p:nvPr>
            <p:ph type="body" sz="quarter" idx="17"/>
          </p:nvPr>
        </p:nvSpPr>
        <p:spPr bwMode="gray">
          <a:xfrm>
            <a:off x="6032502" y="3716339"/>
            <a:ext cx="3600448" cy="237648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Placeholder 54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Add slide title</a:t>
            </a:r>
            <a:endParaRPr lang="en-GB" dirty="0"/>
          </a:p>
        </p:txBody>
      </p:sp>
      <p:sp>
        <p:nvSpPr>
          <p:cNvPr id="7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6099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54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Add slide title</a:t>
            </a:r>
            <a:endParaRPr lang="en-GB" dirty="0"/>
          </a:p>
        </p:txBody>
      </p:sp>
      <p:sp>
        <p:nvSpPr>
          <p:cNvPr id="5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7" name="bgs_grid"/>
          <p:cNvGrpSpPr/>
          <p:nvPr userDrawn="1">
            <p:custDataLst>
              <p:tags r:id="rId2"/>
            </p:custDataLst>
          </p:nvPr>
        </p:nvGrpSpPr>
        <p:grpSpPr>
          <a:xfrm>
            <a:off x="269875" y="1193800"/>
            <a:ext cx="9356725" cy="4894263"/>
            <a:chOff x="269875" y="1193800"/>
            <a:chExt cx="9356725" cy="4894263"/>
          </a:xfrm>
        </p:grpSpPr>
        <p:sp>
          <p:nvSpPr>
            <p:cNvPr id="12" name="part0"/>
            <p:cNvSpPr/>
            <p:nvPr userDrawn="1"/>
          </p:nvSpPr>
          <p:spPr>
            <a:xfrm>
              <a:off x="269875" y="1193800"/>
              <a:ext cx="9356725" cy="4894263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FFFF"/>
                </a:solidFill>
              </a:endParaRPr>
            </a:p>
          </p:txBody>
        </p:sp>
        <p:sp>
          <p:nvSpPr>
            <p:cNvPr id="13" name="part1"/>
            <p:cNvSpPr/>
            <p:nvPr userDrawn="1"/>
          </p:nvSpPr>
          <p:spPr>
            <a:xfrm>
              <a:off x="2501503" y="1193800"/>
              <a:ext cx="144463" cy="4894263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FFFF"/>
                </a:solidFill>
              </a:endParaRPr>
            </a:p>
          </p:txBody>
        </p:sp>
        <p:sp>
          <p:nvSpPr>
            <p:cNvPr id="14" name="part2"/>
            <p:cNvSpPr/>
            <p:nvPr userDrawn="1"/>
          </p:nvSpPr>
          <p:spPr>
            <a:xfrm>
              <a:off x="4877594" y="1193800"/>
              <a:ext cx="142875" cy="4894263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FFFF"/>
                </a:solidFill>
              </a:endParaRPr>
            </a:p>
          </p:txBody>
        </p:sp>
        <p:sp>
          <p:nvSpPr>
            <p:cNvPr id="15" name="part3"/>
            <p:cNvSpPr/>
            <p:nvPr userDrawn="1"/>
          </p:nvSpPr>
          <p:spPr>
            <a:xfrm>
              <a:off x="7252098" y="1193800"/>
              <a:ext cx="142875" cy="4894263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FFFF"/>
                </a:solidFill>
              </a:endParaRPr>
            </a:p>
          </p:txBody>
        </p:sp>
        <p:sp>
          <p:nvSpPr>
            <p:cNvPr id="16" name="part4"/>
            <p:cNvSpPr/>
            <p:nvPr userDrawn="1"/>
          </p:nvSpPr>
          <p:spPr>
            <a:xfrm>
              <a:off x="269875" y="3568700"/>
              <a:ext cx="9356725" cy="144463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6093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916113"/>
            <a:ext cx="1727200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4"/>
          </p:nvPr>
        </p:nvSpPr>
        <p:spPr bwMode="gray">
          <a:xfrm>
            <a:off x="4160838" y="1916113"/>
            <a:ext cx="1727200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9"/>
          <p:cNvSpPr>
            <a:spLocks noGrp="1"/>
          </p:cNvSpPr>
          <p:nvPr>
            <p:ph type="body" sz="quarter" idx="15"/>
          </p:nvPr>
        </p:nvSpPr>
        <p:spPr bwMode="gray">
          <a:xfrm>
            <a:off x="6034088" y="1916113"/>
            <a:ext cx="1727200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6"/>
          </p:nvPr>
        </p:nvSpPr>
        <p:spPr bwMode="gray">
          <a:xfrm>
            <a:off x="7905750" y="1916113"/>
            <a:ext cx="1727200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160838" y="1196979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6" y="1196979"/>
            <a:ext cx="1727200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6032500" y="1196979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7905750" y="1196979"/>
            <a:ext cx="1727200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5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0407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ive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7"/>
          </p:nvPr>
        </p:nvSpPr>
        <p:spPr bwMode="gray">
          <a:xfrm>
            <a:off x="2289175" y="1916113"/>
            <a:ext cx="1368426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30"/>
          <p:cNvSpPr>
            <a:spLocks noGrp="1"/>
          </p:cNvSpPr>
          <p:nvPr>
            <p:ph type="body" sz="quarter" idx="18"/>
          </p:nvPr>
        </p:nvSpPr>
        <p:spPr bwMode="gray">
          <a:xfrm>
            <a:off x="3783013" y="1916113"/>
            <a:ext cx="1368426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3" name="Text Placeholder 30"/>
          <p:cNvSpPr>
            <a:spLocks noGrp="1"/>
          </p:cNvSpPr>
          <p:nvPr>
            <p:ph type="body" sz="quarter" idx="19"/>
          </p:nvPr>
        </p:nvSpPr>
        <p:spPr bwMode="gray">
          <a:xfrm>
            <a:off x="5276851" y="1916113"/>
            <a:ext cx="1368426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4" name="Text Placeholder 30"/>
          <p:cNvSpPr>
            <a:spLocks noGrp="1"/>
          </p:cNvSpPr>
          <p:nvPr>
            <p:ph type="body" sz="quarter" idx="20"/>
          </p:nvPr>
        </p:nvSpPr>
        <p:spPr bwMode="gray">
          <a:xfrm>
            <a:off x="6770689" y="1916113"/>
            <a:ext cx="1368426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30"/>
          <p:cNvSpPr>
            <a:spLocks noGrp="1"/>
          </p:cNvSpPr>
          <p:nvPr>
            <p:ph type="body" sz="quarter" idx="21"/>
          </p:nvPr>
        </p:nvSpPr>
        <p:spPr bwMode="gray">
          <a:xfrm>
            <a:off x="8264526" y="1916113"/>
            <a:ext cx="1368426" cy="4176712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3783015" y="1196979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7" y="1196979"/>
            <a:ext cx="1367681" cy="576411"/>
          </a:xfrm>
          <a:prstGeom prst="homePlate">
            <a:avLst>
              <a:gd name="adj" fmla="val 34577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5276853" y="1196979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770691" y="1196979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8264527" y="1196979"/>
            <a:ext cx="1367681" cy="576411"/>
          </a:xfrm>
          <a:prstGeom prst="chevron">
            <a:avLst>
              <a:gd name="adj" fmla="val 34136"/>
            </a:avLst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1">
            <a:noAutofit/>
          </a:bodyPr>
          <a:lstStyle>
            <a:lvl1pPr marL="0" algn="ctr" defTabSz="914400" rtl="0" eaLnBrk="1" latinLnBrk="0" hangingPunct="1">
              <a:defRPr lang="en-US" sz="9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6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19853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ands and driv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AutoShape 20"/>
          <p:cNvSpPr>
            <a:spLocks noChangeArrowheads="1"/>
          </p:cNvSpPr>
          <p:nvPr userDrawn="1"/>
        </p:nvSpPr>
        <p:spPr bwMode="gray">
          <a:xfrm rot="19080000" flipH="1">
            <a:off x="6250366" y="2689242"/>
            <a:ext cx="834711" cy="381000"/>
          </a:xfrm>
          <a:custGeom>
            <a:avLst/>
            <a:gdLst>
              <a:gd name="connsiteX0" fmla="*/ 0 w 1622425"/>
              <a:gd name="connsiteY0" fmla="*/ 69851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0 w 1622425"/>
              <a:gd name="connsiteY7" fmla="*/ 69851 h 381000"/>
              <a:gd name="connsiteX0" fmla="*/ 787714 w 1622425"/>
              <a:gd name="connsiteY0" fmla="*/ 69806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787714 w 1622425"/>
              <a:gd name="connsiteY7" fmla="*/ 69806 h 381000"/>
              <a:gd name="connsiteX0" fmla="*/ 0 w 834711"/>
              <a:gd name="connsiteY0" fmla="*/ 69806 h 381000"/>
              <a:gd name="connsiteX1" fmla="*/ 645804 w 834711"/>
              <a:gd name="connsiteY1" fmla="*/ 69851 h 381000"/>
              <a:gd name="connsiteX2" fmla="*/ 645804 w 834711"/>
              <a:gd name="connsiteY2" fmla="*/ 0 h 381000"/>
              <a:gd name="connsiteX3" fmla="*/ 834711 w 834711"/>
              <a:gd name="connsiteY3" fmla="*/ 190500 h 381000"/>
              <a:gd name="connsiteX4" fmla="*/ 645804 w 834711"/>
              <a:gd name="connsiteY4" fmla="*/ 381000 h 381000"/>
              <a:gd name="connsiteX5" fmla="*/ 645804 w 834711"/>
              <a:gd name="connsiteY5" fmla="*/ 311149 h 381000"/>
              <a:gd name="connsiteX6" fmla="*/ 217715 w 834711"/>
              <a:gd name="connsiteY6" fmla="*/ 311603 h 381000"/>
              <a:gd name="connsiteX7" fmla="*/ 0 w 834711"/>
              <a:gd name="connsiteY7" fmla="*/ 69806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4711" h="381000">
                <a:moveTo>
                  <a:pt x="0" y="69806"/>
                </a:moveTo>
                <a:lnTo>
                  <a:pt x="645804" y="69851"/>
                </a:lnTo>
                <a:lnTo>
                  <a:pt x="645804" y="0"/>
                </a:lnTo>
                <a:lnTo>
                  <a:pt x="834711" y="190500"/>
                </a:lnTo>
                <a:lnTo>
                  <a:pt x="645804" y="381000"/>
                </a:lnTo>
                <a:lnTo>
                  <a:pt x="645804" y="311149"/>
                </a:lnTo>
                <a:lnTo>
                  <a:pt x="217715" y="311603"/>
                </a:lnTo>
                <a:lnTo>
                  <a:pt x="0" y="69806"/>
                </a:lnTo>
                <a:close/>
              </a:path>
            </a:pathLst>
          </a:cu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41" name="AutoShape 17"/>
          <p:cNvSpPr>
            <a:spLocks noChangeArrowheads="1"/>
          </p:cNvSpPr>
          <p:nvPr userDrawn="1"/>
        </p:nvSpPr>
        <p:spPr bwMode="gray">
          <a:xfrm rot="2520000" flipH="1">
            <a:off x="6251199" y="4168177"/>
            <a:ext cx="828227" cy="381000"/>
          </a:xfrm>
          <a:custGeom>
            <a:avLst/>
            <a:gdLst>
              <a:gd name="connsiteX0" fmla="*/ 0 w 1622425"/>
              <a:gd name="connsiteY0" fmla="*/ 69851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0 w 1622425"/>
              <a:gd name="connsiteY7" fmla="*/ 69851 h 381000"/>
              <a:gd name="connsiteX0" fmla="*/ 1007553 w 1622425"/>
              <a:gd name="connsiteY0" fmla="*/ 67039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1007553 w 1622425"/>
              <a:gd name="connsiteY7" fmla="*/ 67039 h 381000"/>
              <a:gd name="connsiteX0" fmla="*/ 213355 w 828227"/>
              <a:gd name="connsiteY0" fmla="*/ 67039 h 381000"/>
              <a:gd name="connsiteX1" fmla="*/ 639320 w 828227"/>
              <a:gd name="connsiteY1" fmla="*/ 69851 h 381000"/>
              <a:gd name="connsiteX2" fmla="*/ 639320 w 828227"/>
              <a:gd name="connsiteY2" fmla="*/ 0 h 381000"/>
              <a:gd name="connsiteX3" fmla="*/ 828227 w 828227"/>
              <a:gd name="connsiteY3" fmla="*/ 190500 h 381000"/>
              <a:gd name="connsiteX4" fmla="*/ 639320 w 828227"/>
              <a:gd name="connsiteY4" fmla="*/ 381000 h 381000"/>
              <a:gd name="connsiteX5" fmla="*/ 639320 w 828227"/>
              <a:gd name="connsiteY5" fmla="*/ 311149 h 381000"/>
              <a:gd name="connsiteX6" fmla="*/ 0 w 828227"/>
              <a:gd name="connsiteY6" fmla="*/ 303993 h 381000"/>
              <a:gd name="connsiteX7" fmla="*/ 213355 w 828227"/>
              <a:gd name="connsiteY7" fmla="*/ 67039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8227" h="381000">
                <a:moveTo>
                  <a:pt x="213355" y="67039"/>
                </a:moveTo>
                <a:lnTo>
                  <a:pt x="639320" y="69851"/>
                </a:lnTo>
                <a:lnTo>
                  <a:pt x="639320" y="0"/>
                </a:lnTo>
                <a:lnTo>
                  <a:pt x="828227" y="190500"/>
                </a:lnTo>
                <a:lnTo>
                  <a:pt x="639320" y="381000"/>
                </a:lnTo>
                <a:lnTo>
                  <a:pt x="639320" y="311149"/>
                </a:lnTo>
                <a:lnTo>
                  <a:pt x="0" y="303993"/>
                </a:lnTo>
                <a:lnTo>
                  <a:pt x="213355" y="67039"/>
                </a:lnTo>
                <a:close/>
              </a:path>
            </a:pathLst>
          </a:cu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2" name="AutoShape 20"/>
          <p:cNvSpPr>
            <a:spLocks noChangeArrowheads="1"/>
          </p:cNvSpPr>
          <p:nvPr userDrawn="1"/>
        </p:nvSpPr>
        <p:spPr bwMode="gray">
          <a:xfrm rot="2520000">
            <a:off x="4833884" y="2687440"/>
            <a:ext cx="840097" cy="381000"/>
          </a:xfrm>
          <a:custGeom>
            <a:avLst/>
            <a:gdLst>
              <a:gd name="connsiteX0" fmla="*/ 0 w 1622425"/>
              <a:gd name="connsiteY0" fmla="*/ 69851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0 w 1622425"/>
              <a:gd name="connsiteY7" fmla="*/ 69851 h 381000"/>
              <a:gd name="connsiteX0" fmla="*/ 782328 w 1622425"/>
              <a:gd name="connsiteY0" fmla="*/ 66110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782328 w 1622425"/>
              <a:gd name="connsiteY7" fmla="*/ 66110 h 381000"/>
              <a:gd name="connsiteX0" fmla="*/ 0 w 840097"/>
              <a:gd name="connsiteY0" fmla="*/ 66110 h 381000"/>
              <a:gd name="connsiteX1" fmla="*/ 651190 w 840097"/>
              <a:gd name="connsiteY1" fmla="*/ 69851 h 381000"/>
              <a:gd name="connsiteX2" fmla="*/ 651190 w 840097"/>
              <a:gd name="connsiteY2" fmla="*/ 0 h 381000"/>
              <a:gd name="connsiteX3" fmla="*/ 840097 w 840097"/>
              <a:gd name="connsiteY3" fmla="*/ 190500 h 381000"/>
              <a:gd name="connsiteX4" fmla="*/ 651190 w 840097"/>
              <a:gd name="connsiteY4" fmla="*/ 381000 h 381000"/>
              <a:gd name="connsiteX5" fmla="*/ 651190 w 840097"/>
              <a:gd name="connsiteY5" fmla="*/ 311149 h 381000"/>
              <a:gd name="connsiteX6" fmla="*/ 221963 w 840097"/>
              <a:gd name="connsiteY6" fmla="*/ 312626 h 381000"/>
              <a:gd name="connsiteX7" fmla="*/ 0 w 840097"/>
              <a:gd name="connsiteY7" fmla="*/ 66110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40097" h="381000">
                <a:moveTo>
                  <a:pt x="0" y="66110"/>
                </a:moveTo>
                <a:lnTo>
                  <a:pt x="651190" y="69851"/>
                </a:lnTo>
                <a:lnTo>
                  <a:pt x="651190" y="0"/>
                </a:lnTo>
                <a:lnTo>
                  <a:pt x="840097" y="190500"/>
                </a:lnTo>
                <a:lnTo>
                  <a:pt x="651190" y="381000"/>
                </a:lnTo>
                <a:lnTo>
                  <a:pt x="651190" y="311149"/>
                </a:lnTo>
                <a:lnTo>
                  <a:pt x="221963" y="312626"/>
                </a:lnTo>
                <a:lnTo>
                  <a:pt x="0" y="66110"/>
                </a:lnTo>
                <a:close/>
              </a:path>
            </a:pathLst>
          </a:cu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23" name="AutoShape 17"/>
          <p:cNvSpPr>
            <a:spLocks noChangeArrowheads="1"/>
          </p:cNvSpPr>
          <p:nvPr userDrawn="1"/>
        </p:nvSpPr>
        <p:spPr bwMode="gray">
          <a:xfrm rot="19080000">
            <a:off x="4837587" y="4170727"/>
            <a:ext cx="835848" cy="381000"/>
          </a:xfrm>
          <a:custGeom>
            <a:avLst/>
            <a:gdLst>
              <a:gd name="connsiteX0" fmla="*/ 0 w 1622425"/>
              <a:gd name="connsiteY0" fmla="*/ 69851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0 w 1622425"/>
              <a:gd name="connsiteY6" fmla="*/ 311149 h 381000"/>
              <a:gd name="connsiteX7" fmla="*/ 0 w 1622425"/>
              <a:gd name="connsiteY7" fmla="*/ 69851 h 381000"/>
              <a:gd name="connsiteX0" fmla="*/ 0 w 1622425"/>
              <a:gd name="connsiteY0" fmla="*/ 69851 h 381000"/>
              <a:gd name="connsiteX1" fmla="*/ 1433518 w 1622425"/>
              <a:gd name="connsiteY1" fmla="*/ 69851 h 381000"/>
              <a:gd name="connsiteX2" fmla="*/ 1433518 w 1622425"/>
              <a:gd name="connsiteY2" fmla="*/ 0 h 381000"/>
              <a:gd name="connsiteX3" fmla="*/ 1622425 w 1622425"/>
              <a:gd name="connsiteY3" fmla="*/ 190500 h 381000"/>
              <a:gd name="connsiteX4" fmla="*/ 1433518 w 1622425"/>
              <a:gd name="connsiteY4" fmla="*/ 381000 h 381000"/>
              <a:gd name="connsiteX5" fmla="*/ 1433518 w 1622425"/>
              <a:gd name="connsiteY5" fmla="*/ 311149 h 381000"/>
              <a:gd name="connsiteX6" fmla="*/ 786577 w 1622425"/>
              <a:gd name="connsiteY6" fmla="*/ 310171 h 381000"/>
              <a:gd name="connsiteX7" fmla="*/ 0 w 1622425"/>
              <a:gd name="connsiteY7" fmla="*/ 69851 h 381000"/>
              <a:gd name="connsiteX0" fmla="*/ 217714 w 835848"/>
              <a:gd name="connsiteY0" fmla="*/ 68374 h 381000"/>
              <a:gd name="connsiteX1" fmla="*/ 646941 w 835848"/>
              <a:gd name="connsiteY1" fmla="*/ 69851 h 381000"/>
              <a:gd name="connsiteX2" fmla="*/ 646941 w 835848"/>
              <a:gd name="connsiteY2" fmla="*/ 0 h 381000"/>
              <a:gd name="connsiteX3" fmla="*/ 835848 w 835848"/>
              <a:gd name="connsiteY3" fmla="*/ 190500 h 381000"/>
              <a:gd name="connsiteX4" fmla="*/ 646941 w 835848"/>
              <a:gd name="connsiteY4" fmla="*/ 381000 h 381000"/>
              <a:gd name="connsiteX5" fmla="*/ 646941 w 835848"/>
              <a:gd name="connsiteY5" fmla="*/ 311149 h 381000"/>
              <a:gd name="connsiteX6" fmla="*/ 0 w 835848"/>
              <a:gd name="connsiteY6" fmla="*/ 310171 h 381000"/>
              <a:gd name="connsiteX7" fmla="*/ 217714 w 835848"/>
              <a:gd name="connsiteY7" fmla="*/ 68374 h 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5848" h="381000">
                <a:moveTo>
                  <a:pt x="217714" y="68374"/>
                </a:moveTo>
                <a:lnTo>
                  <a:pt x="646941" y="69851"/>
                </a:lnTo>
                <a:lnTo>
                  <a:pt x="646941" y="0"/>
                </a:lnTo>
                <a:lnTo>
                  <a:pt x="835848" y="190500"/>
                </a:lnTo>
                <a:lnTo>
                  <a:pt x="646941" y="381000"/>
                </a:lnTo>
                <a:lnTo>
                  <a:pt x="646941" y="311149"/>
                </a:lnTo>
                <a:lnTo>
                  <a:pt x="0" y="310171"/>
                </a:lnTo>
                <a:lnTo>
                  <a:pt x="217714" y="68374"/>
                </a:lnTo>
                <a:close/>
              </a:path>
            </a:pathLst>
          </a:custGeom>
          <a:gradFill rotWithShape="1">
            <a:gsLst>
              <a:gs pos="0">
                <a:srgbClr val="DCDDDD"/>
              </a:gs>
              <a:gs pos="100000">
                <a:srgbClr val="97989A"/>
              </a:gs>
            </a:gsLst>
            <a:lin ang="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>
            <a:noAutofit/>
          </a:bodyPr>
          <a:lstStyle/>
          <a:p>
            <a:endParaRPr lang="en-CA" dirty="0">
              <a:solidFill>
                <a:srgbClr val="000000"/>
              </a:solidFill>
            </a:endParaRPr>
          </a:p>
        </p:txBody>
      </p:sp>
      <p:sp>
        <p:nvSpPr>
          <p:cNvPr id="25" name="Text Placeholder 10"/>
          <p:cNvSpPr>
            <a:spLocks noGrp="1"/>
          </p:cNvSpPr>
          <p:nvPr userDrawn="1">
            <p:ph type="body" sz="quarter" idx="21"/>
          </p:nvPr>
        </p:nvSpPr>
        <p:spPr bwMode="gray">
          <a:xfrm>
            <a:off x="5362925" y="3324225"/>
            <a:ext cx="1184400" cy="622800"/>
          </a:xfrm>
          <a:prstGeom prst="ellipse">
            <a:avLst/>
          </a:prstGeom>
          <a:solidFill>
            <a:srgbClr val="AA5CAA"/>
          </a:solidFill>
          <a:ln>
            <a:noFill/>
          </a:ln>
        </p:spPr>
        <p:txBody>
          <a:bodyPr lIns="54000" tIns="54000" rIns="54000" bIns="54000" anchor="ctr" anchorCtr="1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2289175" y="1628775"/>
            <a:ext cx="2735833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2735833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897117" y="1628775"/>
            <a:ext cx="2735833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5"/>
          </p:nvPr>
        </p:nvSpPr>
        <p:spPr bwMode="gray">
          <a:xfrm>
            <a:off x="6897117" y="4148137"/>
            <a:ext cx="2735833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9"/>
            <a:ext cx="2735833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897117" y="1196979"/>
            <a:ext cx="2735833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7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2735833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8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897117" y="3716339"/>
            <a:ext cx="2735833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8" name="Title 17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20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3441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/>
          </p:nvPr>
        </p:nvSpPr>
        <p:spPr bwMode="gray">
          <a:xfrm>
            <a:off x="2289175" y="1628775"/>
            <a:ext cx="3600450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6032500" y="1628775"/>
            <a:ext cx="3600450" cy="1944688"/>
          </a:xfrm>
          <a:noFill/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23"/>
          </p:nvPr>
        </p:nvSpPr>
        <p:spPr bwMode="gray">
          <a:xfrm>
            <a:off x="2289175" y="4148137"/>
            <a:ext cx="3600450" cy="1944688"/>
          </a:xfrm>
          <a:solidFill>
            <a:srgbClr val="BFDEE4"/>
          </a:solidFill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4"/>
          </p:nvPr>
        </p:nvSpPr>
        <p:spPr bwMode="gray">
          <a:xfrm>
            <a:off x="6032500" y="4148137"/>
            <a:ext cx="3600450" cy="1944688"/>
          </a:xfrm>
          <a:solidFill>
            <a:srgbClr val="BFDEE4"/>
          </a:solidFill>
          <a:ln w="6350">
            <a:solidFill>
              <a:srgbClr val="409DAD"/>
            </a:solidFill>
          </a:ln>
        </p:spPr>
        <p:txBody>
          <a:bodyPr lIns="54000" tIns="54000" rIns="54000" bIns="54000">
            <a:noAutofit/>
          </a:bodyPr>
          <a:lstStyle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2289175" y="1196979"/>
            <a:ext cx="3600450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0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6032501" y="1196979"/>
            <a:ext cx="3600450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2289175" y="3716339"/>
            <a:ext cx="3600450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2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6032501" y="3716339"/>
            <a:ext cx="3600450" cy="359817"/>
          </a:xfrm>
          <a:solidFill>
            <a:srgbClr val="409DAD"/>
          </a:solidFill>
          <a:ln w="6350">
            <a:solidFill>
              <a:srgbClr val="409DAD"/>
            </a:solidFill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5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6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56546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17"/>
          <p:cNvSpPr>
            <a:spLocks noGrp="1"/>
          </p:cNvSpPr>
          <p:nvPr>
            <p:ph type="body" sz="quarter" idx="20"/>
          </p:nvPr>
        </p:nvSpPr>
        <p:spPr bwMode="gray">
          <a:xfrm>
            <a:off x="7329167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Freeform 29"/>
          <p:cNvSpPr>
            <a:spLocks/>
          </p:cNvSpPr>
          <p:nvPr userDrawn="1"/>
        </p:nvSpPr>
        <p:spPr bwMode="gray">
          <a:xfrm>
            <a:off x="2" y="906463"/>
            <a:ext cx="2000250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 bwMode="gray">
          <a:xfrm>
            <a:off x="2289177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8"/>
          </p:nvPr>
        </p:nvSpPr>
        <p:spPr bwMode="gray">
          <a:xfrm>
            <a:off x="4809172" y="3716339"/>
            <a:ext cx="2303785" cy="2376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73050" y="1195200"/>
            <a:ext cx="1727200" cy="4895850"/>
          </a:xfrm>
        </p:spPr>
        <p:txBody>
          <a:bodyPr vert="horz" lIns="0" tIns="0" rIns="144000" bIns="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900" b="1" kern="1200" noProof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975" indent="-18097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7800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■"/>
              <a:defRPr lang="en-US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9138" indent="-174625" algn="l" defTabSz="914400" rtl="0" eaLnBrk="1" latinLnBrk="0" hangingPunct="1">
              <a:lnSpc>
                <a:spcPct val="135000"/>
              </a:lnSpc>
              <a:spcBef>
                <a:spcPts val="600"/>
              </a:spcBef>
              <a:buClr>
                <a:srgbClr val="00338D"/>
              </a:buClr>
              <a:buFont typeface="Arial" pitchFamily="34" charset="0"/>
              <a:buChar char="–"/>
              <a:defRPr lang="en-GB" sz="900" b="1" kern="1200" noProof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89535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1079500" indent="-18415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baseline="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257300" indent="-177800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■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+mn-cs"/>
              </a:defRPr>
            </a:lvl8pPr>
            <a:lvl9pPr marL="1401763" indent="-144463">
              <a:lnSpc>
                <a:spcPct val="100000"/>
              </a:lnSpc>
              <a:buClr>
                <a:srgbClr val="00338D"/>
              </a:buClr>
              <a:buFont typeface="Arial" pitchFamily="34" charset="0"/>
              <a:buChar char="–"/>
              <a:defRPr lang="en-US" sz="900" b="1" kern="1200" dirty="0" smtClean="0">
                <a:solidFill>
                  <a:srgbClr val="00338D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3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Add Key messag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9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252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hank You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9"/>
          <p:cNvSpPr>
            <a:spLocks noChangeAspect="1"/>
          </p:cNvSpPr>
          <p:nvPr userDrawn="1"/>
        </p:nvSpPr>
        <p:spPr bwMode="ltGray">
          <a:xfrm>
            <a:off x="0" y="2"/>
            <a:ext cx="5236766" cy="5400675"/>
          </a:xfrm>
          <a:custGeom>
            <a:avLst/>
            <a:gdLst/>
            <a:ahLst/>
            <a:cxnLst>
              <a:cxn ang="0">
                <a:pos x="17951" y="0"/>
              </a:cxn>
              <a:cxn ang="0">
                <a:pos x="0" y="0"/>
              </a:cxn>
              <a:cxn ang="0">
                <a:pos x="0" y="20057"/>
              </a:cxn>
              <a:cxn ang="0">
                <a:pos x="12022" y="20057"/>
              </a:cxn>
              <a:cxn ang="0">
                <a:pos x="17951" y="0"/>
              </a:cxn>
            </a:cxnLst>
            <a:rect l="0" t="0" r="r" b="b"/>
            <a:pathLst>
              <a:path w="17951" h="20057">
                <a:moveTo>
                  <a:pt x="17951" y="0"/>
                </a:moveTo>
                <a:lnTo>
                  <a:pt x="0" y="0"/>
                </a:lnTo>
                <a:lnTo>
                  <a:pt x="0" y="20057"/>
                </a:lnTo>
                <a:lnTo>
                  <a:pt x="12022" y="20057"/>
                </a:lnTo>
                <a:lnTo>
                  <a:pt x="17951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662" dirty="0">
              <a:solidFill>
                <a:srgbClr val="00000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350492" y="1412776"/>
            <a:ext cx="4385282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GB" sz="2769" b="1" kern="1200" baseline="0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  <a:lvl6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6pPr>
            <a:lvl7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7pPr>
            <a:lvl8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8pPr>
            <a:lvl9pPr>
              <a:defRPr lang="en-GB" sz="2769" b="1" kern="1200" noProof="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9pPr>
          </a:lstStyle>
          <a:p>
            <a:pPr lvl="0" algn="l" defTabSz="844083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</a:pPr>
            <a:r>
              <a:rPr lang="en-US" dirty="0" smtClean="0"/>
              <a:t>1.0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одержание Проекта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50837" y="2708282"/>
            <a:ext cx="3666596" cy="9366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>
              <a:defRPr lang="en-US" sz="1108" b="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lvl="0" indent="0" algn="l" defTabSz="844083" rtl="0" eaLnBrk="1" fontAlgn="base" latinLnBrk="0" hangingPunct="1">
              <a:lnSpc>
                <a:spcPct val="110000"/>
              </a:lnSpc>
              <a:spcBef>
                <a:spcPct val="400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08812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Key Issues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 bwMode="gray">
          <a:xfrm>
            <a:off x="2289175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4"/>
          </p:nvPr>
        </p:nvSpPr>
        <p:spPr bwMode="gray">
          <a:xfrm>
            <a:off x="6032500" y="1196975"/>
            <a:ext cx="3600450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6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16660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gs_grid_report_apndx" hidden="1"/>
          <p:cNvGrpSpPr/>
          <p:nvPr userDrawn="1"/>
        </p:nvGrpSpPr>
        <p:grpSpPr bwMode="gray">
          <a:xfrm>
            <a:off x="269875" y="1193800"/>
            <a:ext cx="9363075" cy="4896000"/>
            <a:chOff x="269875" y="1193800"/>
            <a:chExt cx="9363075" cy="4896000"/>
          </a:xfrm>
        </p:grpSpPr>
        <p:grpSp>
          <p:nvGrpSpPr>
            <p:cNvPr id="3" name="Group 21"/>
            <p:cNvGrpSpPr/>
            <p:nvPr userDrawn="1"/>
          </p:nvGrpSpPr>
          <p:grpSpPr bwMode="gray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28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2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00"/>
                <a:ext cx="9356725" cy="1444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" name="Rectangle 20"/>
              <p:cNvSpPr>
                <a:spLocks noChangeArrowheads="1"/>
              </p:cNvSpPr>
              <p:nvPr userDrawn="1"/>
            </p:nvSpPr>
            <p:spPr bwMode="gray">
              <a:xfrm>
                <a:off x="2501503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" name="Rectangle 22"/>
              <p:cNvSpPr>
                <a:spLocks noChangeArrowheads="1"/>
              </p:cNvSpPr>
              <p:nvPr userDrawn="1"/>
            </p:nvSpPr>
            <p:spPr bwMode="gray">
              <a:xfrm>
                <a:off x="4877594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" name="Rectangle 23"/>
              <p:cNvSpPr>
                <a:spLocks noChangeArrowheads="1"/>
              </p:cNvSpPr>
              <p:nvPr userDrawn="1"/>
            </p:nvSpPr>
            <p:spPr bwMode="gray">
              <a:xfrm>
                <a:off x="7252097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27" name="TextBox 26"/>
            <p:cNvSpPr txBox="1"/>
            <p:nvPr userDrawn="1"/>
          </p:nvSpPr>
          <p:spPr bwMode="gray">
            <a:xfrm>
              <a:off x="5889625" y="5969605"/>
              <a:ext cx="3743325" cy="107722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r"/>
              <a:r>
                <a:rPr lang="en-GB" sz="700" dirty="0" smtClean="0">
                  <a:solidFill>
                    <a:srgbClr val="C84E00"/>
                  </a:solidFill>
                </a:rPr>
                <a:t>Appendix layout grid: to remove go to slide Master select Grid object and delete</a:t>
              </a:r>
              <a:endParaRPr lang="en-GB" sz="700" dirty="0">
                <a:solidFill>
                  <a:srgbClr val="C84E00"/>
                </a:solidFill>
              </a:endParaRPr>
            </a:p>
          </p:txBody>
        </p:sp>
      </p:grpSp>
      <p:sp>
        <p:nvSpPr>
          <p:cNvPr id="34" name="Text Placeholder 33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3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4936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gs_grid_report_apndx" hidden="1"/>
          <p:cNvGrpSpPr/>
          <p:nvPr userDrawn="1"/>
        </p:nvGrpSpPr>
        <p:grpSpPr bwMode="gray">
          <a:xfrm>
            <a:off x="269875" y="1193800"/>
            <a:ext cx="9363075" cy="4896000"/>
            <a:chOff x="269875" y="1193800"/>
            <a:chExt cx="9363075" cy="4896000"/>
          </a:xfrm>
        </p:grpSpPr>
        <p:grpSp>
          <p:nvGrpSpPr>
            <p:cNvPr id="3" name="Group 21"/>
            <p:cNvGrpSpPr/>
            <p:nvPr userDrawn="1"/>
          </p:nvGrpSpPr>
          <p:grpSpPr bwMode="gray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17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2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00"/>
                <a:ext cx="9356725" cy="1444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 userDrawn="1"/>
            </p:nvSpPr>
            <p:spPr bwMode="gray">
              <a:xfrm>
                <a:off x="2501503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0" name="Rectangle 22"/>
              <p:cNvSpPr>
                <a:spLocks noChangeArrowheads="1"/>
              </p:cNvSpPr>
              <p:nvPr userDrawn="1"/>
            </p:nvSpPr>
            <p:spPr bwMode="gray">
              <a:xfrm>
                <a:off x="4877594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1" name="Rectangle 23"/>
              <p:cNvSpPr>
                <a:spLocks noChangeArrowheads="1"/>
              </p:cNvSpPr>
              <p:nvPr userDrawn="1"/>
            </p:nvSpPr>
            <p:spPr bwMode="gray">
              <a:xfrm>
                <a:off x="7252097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23" name="TextBox 22"/>
            <p:cNvSpPr txBox="1"/>
            <p:nvPr userDrawn="1"/>
          </p:nvSpPr>
          <p:spPr bwMode="gray">
            <a:xfrm>
              <a:off x="5889625" y="5969605"/>
              <a:ext cx="3743325" cy="107722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r"/>
              <a:r>
                <a:rPr lang="en-GB" sz="700" dirty="0" smtClean="0">
                  <a:solidFill>
                    <a:srgbClr val="C84E00"/>
                  </a:solidFill>
                </a:rPr>
                <a:t>Appendix layout grid: to remove go to slide Master select Grid object and delete</a:t>
              </a:r>
              <a:endParaRPr lang="en-GB" sz="700" dirty="0">
                <a:solidFill>
                  <a:srgbClr val="C84E00"/>
                </a:solidFill>
              </a:endParaRPr>
            </a:p>
          </p:txBody>
        </p:sp>
      </p:grpSp>
      <p:sp>
        <p:nvSpPr>
          <p:cNvPr id="29" name="Text Placeholder 33"/>
          <p:cNvSpPr>
            <a:spLocks noGrp="1"/>
          </p:cNvSpPr>
          <p:nvPr>
            <p:ph type="body" sz="quarter" idx="11"/>
          </p:nvPr>
        </p:nvSpPr>
        <p:spPr bwMode="gray">
          <a:xfrm>
            <a:off x="5024440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0"/>
          </p:nvPr>
        </p:nvSpPr>
        <p:spPr bwMode="gray">
          <a:xfrm>
            <a:off x="272480" y="1196753"/>
            <a:ext cx="4608512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4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8275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bgs_grid_report_apndx" hidden="1"/>
          <p:cNvGrpSpPr/>
          <p:nvPr userDrawn="1"/>
        </p:nvGrpSpPr>
        <p:grpSpPr bwMode="gray">
          <a:xfrm>
            <a:off x="269875" y="1193800"/>
            <a:ext cx="9363075" cy="4896000"/>
            <a:chOff x="269875" y="1193800"/>
            <a:chExt cx="9363075" cy="4896000"/>
          </a:xfrm>
        </p:grpSpPr>
        <p:grpSp>
          <p:nvGrpSpPr>
            <p:cNvPr id="4" name="Group 21"/>
            <p:cNvGrpSpPr/>
            <p:nvPr userDrawn="1"/>
          </p:nvGrpSpPr>
          <p:grpSpPr bwMode="gray">
            <a:xfrm>
              <a:off x="269875" y="1193800"/>
              <a:ext cx="9356725" cy="4896000"/>
              <a:chOff x="269875" y="1193800"/>
              <a:chExt cx="9356725" cy="4896000"/>
            </a:xfrm>
          </p:grpSpPr>
          <p:sp>
            <p:nvSpPr>
              <p:cNvPr id="26" name="Rectangle 18"/>
              <p:cNvSpPr>
                <a:spLocks noChangeArrowheads="1"/>
              </p:cNvSpPr>
              <p:nvPr userDrawn="1"/>
            </p:nvSpPr>
            <p:spPr bwMode="gray">
              <a:xfrm>
                <a:off x="269875" y="1193800"/>
                <a:ext cx="9356725" cy="48942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7" name="Rectangle 19"/>
              <p:cNvSpPr>
                <a:spLocks noChangeArrowheads="1"/>
              </p:cNvSpPr>
              <p:nvPr userDrawn="1"/>
            </p:nvSpPr>
            <p:spPr bwMode="gray">
              <a:xfrm>
                <a:off x="269875" y="3568700"/>
                <a:ext cx="9356725" cy="144463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8" name="Rectangle 20"/>
              <p:cNvSpPr>
                <a:spLocks noChangeArrowheads="1"/>
              </p:cNvSpPr>
              <p:nvPr userDrawn="1"/>
            </p:nvSpPr>
            <p:spPr bwMode="gray">
              <a:xfrm>
                <a:off x="2501503" y="1193800"/>
                <a:ext cx="144463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29" name="Rectangle 22"/>
              <p:cNvSpPr>
                <a:spLocks noChangeArrowheads="1"/>
              </p:cNvSpPr>
              <p:nvPr userDrawn="1"/>
            </p:nvSpPr>
            <p:spPr bwMode="gray">
              <a:xfrm>
                <a:off x="4877594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0" name="Rectangle 23"/>
              <p:cNvSpPr>
                <a:spLocks noChangeArrowheads="1"/>
              </p:cNvSpPr>
              <p:nvPr userDrawn="1"/>
            </p:nvSpPr>
            <p:spPr bwMode="gray">
              <a:xfrm>
                <a:off x="7252097" y="1193800"/>
                <a:ext cx="142875" cy="4896000"/>
              </a:xfrm>
              <a:prstGeom prst="rect">
                <a:avLst/>
              </a:prstGeom>
              <a:noFill/>
              <a:ln w="6350" cap="flat" cmpd="sng" algn="ctr">
                <a:solidFill>
                  <a:srgbClr val="C84E00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defRPr/>
                </a:pPr>
                <a:endParaRPr lang="en-US" sz="1200" dirty="0" smtClean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25" name="TextBox 24"/>
            <p:cNvSpPr txBox="1"/>
            <p:nvPr userDrawn="1"/>
          </p:nvSpPr>
          <p:spPr bwMode="gray">
            <a:xfrm>
              <a:off x="5889625" y="5969605"/>
              <a:ext cx="3743325" cy="107722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r"/>
              <a:r>
                <a:rPr lang="en-GB" sz="700" dirty="0" smtClean="0">
                  <a:solidFill>
                    <a:srgbClr val="C84E00"/>
                  </a:solidFill>
                </a:rPr>
                <a:t>Appendix layout grid: to remove go to slide Master select Grid object and delete</a:t>
              </a:r>
              <a:endParaRPr lang="en-GB" sz="700" dirty="0">
                <a:solidFill>
                  <a:srgbClr val="C84E00"/>
                </a:solidFill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smtClean="0"/>
              <a:t>Add slide title</a:t>
            </a:r>
            <a:endParaRPr lang="en-US" dirty="0"/>
          </a:p>
        </p:txBody>
      </p:sp>
      <p:sp>
        <p:nvSpPr>
          <p:cNvPr id="12" name="Line top"/>
          <p:cNvSpPr>
            <a:spLocks noChangeShapeType="1"/>
          </p:cNvSpPr>
          <p:nvPr userDrawn="1"/>
        </p:nvSpPr>
        <p:spPr bwMode="gray">
          <a:xfrm>
            <a:off x="0" y="906463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Line bottom"/>
          <p:cNvSpPr>
            <a:spLocks noChangeShapeType="1"/>
          </p:cNvSpPr>
          <p:nvPr userDrawn="1"/>
        </p:nvSpPr>
        <p:spPr bwMode="gray">
          <a:xfrm>
            <a:off x="0" y="6381328"/>
            <a:ext cx="989806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5915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6"/>
          <p:cNvSpPr>
            <a:spLocks/>
          </p:cNvSpPr>
          <p:nvPr/>
        </p:nvSpPr>
        <p:spPr bwMode="gray">
          <a:xfrm>
            <a:off x="2" y="549277"/>
            <a:ext cx="5313363" cy="5040313"/>
          </a:xfrm>
          <a:custGeom>
            <a:avLst/>
            <a:gdLst/>
            <a:ahLst/>
            <a:cxnLst>
              <a:cxn ang="0">
                <a:pos x="489" y="0"/>
              </a:cxn>
              <a:cxn ang="0">
                <a:pos x="0" y="1651"/>
              </a:cxn>
              <a:cxn ang="0">
                <a:pos x="0" y="3175"/>
              </a:cxn>
              <a:cxn ang="0">
                <a:pos x="2406" y="3175"/>
              </a:cxn>
              <a:cxn ang="0">
                <a:pos x="3347" y="0"/>
              </a:cxn>
              <a:cxn ang="0">
                <a:pos x="489" y="0"/>
              </a:cxn>
            </a:cxnLst>
            <a:rect l="0" t="0" r="r" b="b"/>
            <a:pathLst>
              <a:path w="3347" h="3175">
                <a:moveTo>
                  <a:pt x="489" y="0"/>
                </a:moveTo>
                <a:lnTo>
                  <a:pt x="0" y="1651"/>
                </a:lnTo>
                <a:lnTo>
                  <a:pt x="0" y="3175"/>
                </a:lnTo>
                <a:lnTo>
                  <a:pt x="2406" y="3175"/>
                </a:lnTo>
                <a:lnTo>
                  <a:pt x="3347" y="0"/>
                </a:lnTo>
                <a:lnTo>
                  <a:pt x="489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776538" y="1844824"/>
            <a:ext cx="3528392" cy="194389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Enter Section Heading</a:t>
            </a:r>
            <a:endParaRPr lang="en-GB" dirty="0"/>
          </a:p>
        </p:txBody>
      </p:sp>
      <p:sp>
        <p:nvSpPr>
          <p:cNvPr id="16" name="Text Placehold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76536" y="4005064"/>
            <a:ext cx="3168352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dirty="0" smtClean="0"/>
              <a:t>Click to add Sub-heading </a:t>
            </a:r>
          </a:p>
        </p:txBody>
      </p:sp>
    </p:spTree>
    <p:extLst>
      <p:ext uri="{BB962C8B-B14F-4D97-AF65-F5344CB8AC3E}">
        <p14:creationId xmlns:p14="http://schemas.microsoft.com/office/powerpoint/2010/main" val="327548232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0"/>
          <p:cNvGrpSpPr/>
          <p:nvPr userDrawn="1"/>
        </p:nvGrpSpPr>
        <p:grpSpPr bwMode="gray">
          <a:xfrm>
            <a:off x="-11110" y="-1"/>
            <a:ext cx="9917112" cy="6858001"/>
            <a:chOff x="-10601325" y="-457200"/>
            <a:chExt cx="9917112" cy="6858001"/>
          </a:xfrm>
        </p:grpSpPr>
        <p:sp>
          <p:nvSpPr>
            <p:cNvPr id="1036" name="Freeform 12"/>
            <p:cNvSpPr>
              <a:spLocks/>
            </p:cNvSpPr>
            <p:nvPr userDrawn="1"/>
          </p:nvSpPr>
          <p:spPr bwMode="gray">
            <a:xfrm>
              <a:off x="-10601325" y="-457200"/>
              <a:ext cx="5397500" cy="32369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39"/>
                </a:cxn>
                <a:cxn ang="0">
                  <a:pos x="2796" y="2039"/>
                </a:cxn>
                <a:cxn ang="0">
                  <a:pos x="3400" y="0"/>
                </a:cxn>
                <a:cxn ang="0">
                  <a:pos x="0" y="0"/>
                </a:cxn>
              </a:cxnLst>
              <a:rect l="0" t="0" r="r" b="b"/>
              <a:pathLst>
                <a:path w="3400" h="2039">
                  <a:moveTo>
                    <a:pt x="0" y="0"/>
                  </a:moveTo>
                  <a:lnTo>
                    <a:pt x="0" y="2039"/>
                  </a:lnTo>
                  <a:lnTo>
                    <a:pt x="2796" y="2039"/>
                  </a:lnTo>
                  <a:lnTo>
                    <a:pt x="3400" y="0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gray">
            <a:xfrm>
              <a:off x="-8240713" y="1362075"/>
              <a:ext cx="7556500" cy="5038726"/>
            </a:xfrm>
            <a:custGeom>
              <a:avLst/>
              <a:gdLst/>
              <a:ahLst/>
              <a:cxnLst>
                <a:cxn ang="0">
                  <a:pos x="940" y="0"/>
                </a:cxn>
                <a:cxn ang="0">
                  <a:pos x="0" y="3174"/>
                </a:cxn>
                <a:cxn ang="0">
                  <a:pos x="4760" y="3174"/>
                </a:cxn>
                <a:cxn ang="0">
                  <a:pos x="4760" y="0"/>
                </a:cxn>
                <a:cxn ang="0">
                  <a:pos x="940" y="0"/>
                </a:cxn>
              </a:cxnLst>
              <a:rect l="0" t="0" r="r" b="b"/>
              <a:pathLst>
                <a:path w="4760" h="3174">
                  <a:moveTo>
                    <a:pt x="940" y="0"/>
                  </a:moveTo>
                  <a:lnTo>
                    <a:pt x="0" y="3174"/>
                  </a:lnTo>
                  <a:lnTo>
                    <a:pt x="4760" y="3174"/>
                  </a:lnTo>
                  <a:lnTo>
                    <a:pt x="4760" y="0"/>
                  </a:lnTo>
                  <a:lnTo>
                    <a:pt x="940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00257A">
                    <a:alpha val="90000"/>
                  </a:srgbClr>
                </a:gs>
                <a:gs pos="35000">
                  <a:srgbClr val="00338D">
                    <a:alpha val="90000"/>
                  </a:srgbClr>
                </a:gs>
                <a:gs pos="100000">
                  <a:srgbClr val="009FDA">
                    <a:alpha val="90000"/>
                  </a:srgbClr>
                </a:gs>
              </a:gsLst>
              <a:lin ang="0" scaled="1"/>
              <a:tileRect/>
            </a:gra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038" name="Freeform 14"/>
            <p:cNvSpPr>
              <a:spLocks/>
            </p:cNvSpPr>
            <p:nvPr userDrawn="1"/>
          </p:nvSpPr>
          <p:spPr bwMode="gray">
            <a:xfrm>
              <a:off x="-7169150" y="1362075"/>
              <a:ext cx="1425575" cy="1417638"/>
            </a:xfrm>
            <a:custGeom>
              <a:avLst/>
              <a:gdLst/>
              <a:ahLst/>
              <a:cxnLst>
                <a:cxn ang="0">
                  <a:pos x="898" y="0"/>
                </a:cxn>
                <a:cxn ang="0">
                  <a:pos x="265" y="0"/>
                </a:cxn>
                <a:cxn ang="0">
                  <a:pos x="0" y="893"/>
                </a:cxn>
                <a:cxn ang="0">
                  <a:pos x="633" y="893"/>
                </a:cxn>
                <a:cxn ang="0">
                  <a:pos x="898" y="0"/>
                </a:cxn>
              </a:cxnLst>
              <a:rect l="0" t="0" r="r" b="b"/>
              <a:pathLst>
                <a:path w="898" h="893">
                  <a:moveTo>
                    <a:pt x="898" y="0"/>
                  </a:moveTo>
                  <a:lnTo>
                    <a:pt x="265" y="0"/>
                  </a:lnTo>
                  <a:lnTo>
                    <a:pt x="0" y="893"/>
                  </a:lnTo>
                  <a:lnTo>
                    <a:pt x="633" y="893"/>
                  </a:lnTo>
                  <a:lnTo>
                    <a:pt x="898" y="0"/>
                  </a:lnTo>
                  <a:close/>
                </a:path>
              </a:pathLst>
            </a:custGeom>
            <a:solidFill>
              <a:srgbClr val="00257A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spcBef>
                  <a:spcPct val="50000"/>
                </a:spcBef>
                <a:defRPr/>
              </a:pPr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1" name="Title 10"/>
          <p:cNvSpPr>
            <a:spLocks noGrp="1"/>
          </p:cNvSpPr>
          <p:nvPr userDrawn="1">
            <p:ph type="title" hasCustomPrompt="1"/>
            <p:custDataLst>
              <p:tags r:id="rId1"/>
            </p:custDataLst>
          </p:nvPr>
        </p:nvSpPr>
        <p:spPr bwMode="gray">
          <a:xfrm>
            <a:off x="5025010" y="2492896"/>
            <a:ext cx="4535608" cy="223224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buNone/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  <a:lvl6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6pPr>
            <a:lvl7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7pPr>
            <a:lvl8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8pPr>
            <a:lvl9pPr>
              <a:defRPr lang="en-GB" sz="3000" b="1" kern="1200" noProof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 algn="l" rtl="0" eaLnBrk="1" fontAlgn="base" hangingPunct="1">
              <a:spcBef>
                <a:spcPct val="40000"/>
              </a:spcBef>
              <a:spcAft>
                <a:spcPct val="0"/>
              </a:spcAft>
            </a:pPr>
            <a:r>
              <a:rPr lang="en-US" dirty="0" smtClean="0"/>
              <a:t>Enter Section Heading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 userDrawn="1">
            <p:ph type="body" sz="quarter" idx="10" hasCustomPrompt="1"/>
          </p:nvPr>
        </p:nvSpPr>
        <p:spPr bwMode="gray">
          <a:xfrm>
            <a:off x="5024440" y="5013325"/>
            <a:ext cx="4537075" cy="15113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r">
              <a:defRPr lang="en-US" sz="1200" b="0" kern="1200" baseline="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 algn="r" defTabSz="914400" rtl="0" eaLnBrk="1" fontAlgn="base" latinLnBrk="0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 smtClean="0"/>
              <a:t>[Enter heading subheading]</a:t>
            </a:r>
          </a:p>
        </p:txBody>
      </p:sp>
      <p:sp>
        <p:nvSpPr>
          <p:cNvPr id="1033" name="Freeform 9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5" name="Freeform 11"/>
          <p:cNvSpPr>
            <a:spLocks/>
          </p:cNvSpPr>
          <p:nvPr userDrawn="1"/>
        </p:nvSpPr>
        <p:spPr bwMode="auto">
          <a:xfrm>
            <a:off x="-8240711" y="1362075"/>
            <a:ext cx="7556500" cy="5038726"/>
          </a:xfrm>
          <a:custGeom>
            <a:avLst/>
            <a:gdLst/>
            <a:ahLst/>
            <a:cxnLst>
              <a:cxn ang="0">
                <a:pos x="940" y="0"/>
              </a:cxn>
              <a:cxn ang="0">
                <a:pos x="0" y="3174"/>
              </a:cxn>
              <a:cxn ang="0">
                <a:pos x="4760" y="3174"/>
              </a:cxn>
              <a:cxn ang="0">
                <a:pos x="4760" y="0"/>
              </a:cxn>
              <a:cxn ang="0">
                <a:pos x="940" y="0"/>
              </a:cxn>
            </a:cxnLst>
            <a:rect l="0" t="0" r="r" b="b"/>
            <a:pathLst>
              <a:path w="4760" h="3174">
                <a:moveTo>
                  <a:pt x="940" y="0"/>
                </a:moveTo>
                <a:lnTo>
                  <a:pt x="0" y="3174"/>
                </a:lnTo>
                <a:lnTo>
                  <a:pt x="4760" y="3174"/>
                </a:lnTo>
                <a:lnTo>
                  <a:pt x="4760" y="0"/>
                </a:lnTo>
                <a:lnTo>
                  <a:pt x="94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7" name="Freeform 13"/>
          <p:cNvSpPr>
            <a:spLocks/>
          </p:cNvSpPr>
          <p:nvPr userDrawn="1"/>
        </p:nvSpPr>
        <p:spPr bwMode="auto">
          <a:xfrm>
            <a:off x="-10601325" y="-457200"/>
            <a:ext cx="5397500" cy="32369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039"/>
              </a:cxn>
              <a:cxn ang="0">
                <a:pos x="2796" y="2039"/>
              </a:cxn>
              <a:cxn ang="0">
                <a:pos x="3400" y="0"/>
              </a:cxn>
              <a:cxn ang="0">
                <a:pos x="0" y="0"/>
              </a:cxn>
            </a:cxnLst>
            <a:rect l="0" t="0" r="r" b="b"/>
            <a:pathLst>
              <a:path w="3400" h="2039">
                <a:moveTo>
                  <a:pt x="0" y="0"/>
                </a:moveTo>
                <a:lnTo>
                  <a:pt x="0" y="2039"/>
                </a:lnTo>
                <a:lnTo>
                  <a:pt x="2796" y="2039"/>
                </a:lnTo>
                <a:lnTo>
                  <a:pt x="340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39" name="Freeform 15"/>
          <p:cNvSpPr>
            <a:spLocks/>
          </p:cNvSpPr>
          <p:nvPr userDrawn="1"/>
        </p:nvSpPr>
        <p:spPr bwMode="auto">
          <a:xfrm>
            <a:off x="-7169148" y="1362075"/>
            <a:ext cx="1425575" cy="1417638"/>
          </a:xfrm>
          <a:custGeom>
            <a:avLst/>
            <a:gdLst/>
            <a:ahLst/>
            <a:cxnLst>
              <a:cxn ang="0">
                <a:pos x="898" y="0"/>
              </a:cxn>
              <a:cxn ang="0">
                <a:pos x="265" y="0"/>
              </a:cxn>
              <a:cxn ang="0">
                <a:pos x="0" y="893"/>
              </a:cxn>
              <a:cxn ang="0">
                <a:pos x="633" y="893"/>
              </a:cxn>
              <a:cxn ang="0">
                <a:pos x="898" y="0"/>
              </a:cxn>
            </a:cxnLst>
            <a:rect l="0" t="0" r="r" b="b"/>
            <a:pathLst>
              <a:path w="898" h="893">
                <a:moveTo>
                  <a:pt x="898" y="0"/>
                </a:moveTo>
                <a:lnTo>
                  <a:pt x="265" y="0"/>
                </a:lnTo>
                <a:lnTo>
                  <a:pt x="0" y="893"/>
                </a:lnTo>
                <a:lnTo>
                  <a:pt x="633" y="893"/>
                </a:lnTo>
                <a:lnTo>
                  <a:pt x="898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0262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1"/>
          <p:cNvSpPr>
            <a:spLocks/>
          </p:cNvSpPr>
          <p:nvPr userDrawn="1"/>
        </p:nvSpPr>
        <p:spPr bwMode="gray">
          <a:xfrm>
            <a:off x="3" y="0"/>
            <a:ext cx="5224463" cy="5591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22"/>
              </a:cxn>
              <a:cxn ang="0">
                <a:pos x="2247" y="3522"/>
              </a:cxn>
              <a:cxn ang="0">
                <a:pos x="3291" y="0"/>
              </a:cxn>
              <a:cxn ang="0">
                <a:pos x="0" y="0"/>
              </a:cxn>
            </a:cxnLst>
            <a:rect l="0" t="0" r="r" b="b"/>
            <a:pathLst>
              <a:path w="3291" h="3522">
                <a:moveTo>
                  <a:pt x="0" y="0"/>
                </a:moveTo>
                <a:lnTo>
                  <a:pt x="0" y="3522"/>
                </a:lnTo>
                <a:lnTo>
                  <a:pt x="2247" y="3522"/>
                </a:lnTo>
                <a:lnTo>
                  <a:pt x="3291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Title 9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 bwMode="gray">
          <a:xfrm>
            <a:off x="344490" y="1556792"/>
            <a:ext cx="3816424" cy="201622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40000"/>
              </a:spcBef>
              <a:spcAft>
                <a:spcPct val="0"/>
              </a:spcAft>
              <a:defRPr lang="en-GB" sz="30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3000" b="1" dirty="0">
                <a:solidFill>
                  <a:schemeClr val="bg1"/>
                </a:solidFill>
                <a:latin typeface="+mj-lt"/>
              </a:defRPr>
            </a:lvl2pPr>
            <a:lvl3pPr>
              <a:defRPr lang="en-GB" sz="3000" b="1" dirty="0">
                <a:solidFill>
                  <a:schemeClr val="bg1"/>
                </a:solidFill>
                <a:latin typeface="+mj-lt"/>
              </a:defRPr>
            </a:lvl3pPr>
            <a:lvl4pPr>
              <a:defRPr lang="en-GB" sz="3000" b="1" dirty="0">
                <a:solidFill>
                  <a:schemeClr val="bg1"/>
                </a:solidFill>
                <a:latin typeface="+mj-lt"/>
              </a:defRPr>
            </a:lvl4pPr>
            <a:lvl5pPr>
              <a:defRPr lang="en-GB" sz="3000" b="1" dirty="0">
                <a:solidFill>
                  <a:schemeClr val="bg1"/>
                </a:solidFill>
                <a:latin typeface="+mj-lt"/>
              </a:defRPr>
            </a:lvl5pPr>
            <a:lvl6pPr>
              <a:defRPr lang="en-GB" sz="3000" b="1" dirty="0">
                <a:solidFill>
                  <a:schemeClr val="bg1"/>
                </a:solidFill>
                <a:latin typeface="+mj-lt"/>
              </a:defRPr>
            </a:lvl6pPr>
            <a:lvl7pPr>
              <a:defRPr lang="en-GB" sz="3000" b="1" dirty="0">
                <a:solidFill>
                  <a:schemeClr val="bg1"/>
                </a:solidFill>
                <a:latin typeface="+mj-lt"/>
              </a:defRPr>
            </a:lvl7pPr>
            <a:lvl8pPr>
              <a:defRPr lang="en-GB" sz="3000" b="1" dirty="0">
                <a:solidFill>
                  <a:schemeClr val="bg1"/>
                </a:solidFill>
                <a:latin typeface="+mj-lt"/>
              </a:defRPr>
            </a:lvl8pPr>
            <a:lvl9pPr>
              <a:defRPr sz="3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Thank you!</a:t>
            </a:r>
            <a:endParaRPr lang="en-GB" dirty="0"/>
          </a:p>
        </p:txBody>
      </p:sp>
      <p:sp>
        <p:nvSpPr>
          <p:cNvPr id="7" name="Text Placeholder 16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44488" y="3789363"/>
            <a:ext cx="3384550" cy="10795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ts val="600"/>
              </a:spcBef>
              <a:spcAft>
                <a:spcPct val="0"/>
              </a:spcAft>
              <a:defRPr lang="en-US" sz="1200" b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defRPr lang="en-US" sz="1200" b="0" kern="1200" noProof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resentation by Name Surnam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33053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" name="Freeform 6"/>
          <p:cNvSpPr>
            <a:spLocks/>
          </p:cNvSpPr>
          <p:nvPr userDrawn="1"/>
        </p:nvSpPr>
        <p:spPr bwMode="gray">
          <a:xfrm>
            <a:off x="-1588" y="0"/>
            <a:ext cx="5245101" cy="3432176"/>
          </a:xfrm>
          <a:custGeom>
            <a:avLst/>
            <a:gdLst/>
            <a:ahLst/>
            <a:cxnLst>
              <a:cxn ang="0">
                <a:pos x="0" y="2162"/>
              </a:cxn>
              <a:cxn ang="0">
                <a:pos x="2660" y="2162"/>
              </a:cxn>
              <a:cxn ang="0">
                <a:pos x="3304" y="0"/>
              </a:cxn>
              <a:cxn ang="0">
                <a:pos x="0" y="0"/>
              </a:cxn>
              <a:cxn ang="0">
                <a:pos x="0" y="2162"/>
              </a:cxn>
            </a:cxnLst>
            <a:rect l="0" t="0" r="r" b="b"/>
            <a:pathLst>
              <a:path w="3304" h="2162">
                <a:moveTo>
                  <a:pt x="0" y="2162"/>
                </a:moveTo>
                <a:lnTo>
                  <a:pt x="2660" y="2162"/>
                </a:lnTo>
                <a:lnTo>
                  <a:pt x="3304" y="0"/>
                </a:lnTo>
                <a:lnTo>
                  <a:pt x="0" y="0"/>
                </a:lnTo>
                <a:lnTo>
                  <a:pt x="0" y="2162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73052" y="3686630"/>
            <a:ext cx="3950607" cy="24061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>
            <a:noAutofit/>
          </a:bodyPr>
          <a:lstStyle>
            <a:lvl1pPr>
              <a:defRPr lang="en-US" sz="9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Enter Disclaimer</a:t>
            </a:r>
          </a:p>
        </p:txBody>
      </p:sp>
      <p:pic>
        <p:nvPicPr>
          <p:cNvPr id="7" name="Picture 6" descr="KPMG_Plus_Strapline_NormalUse_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0976" y="0"/>
            <a:ext cx="2829747" cy="1534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6055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grpSp>
        <p:nvGrpSpPr>
          <p:cNvPr id="9" name="bgs_grid" hidden="1"/>
          <p:cNvGrpSpPr/>
          <p:nvPr userDrawn="1">
            <p:custDataLst>
              <p:tags r:id="rId1"/>
            </p:custDataLst>
          </p:nvPr>
        </p:nvGrpSpPr>
        <p:grpSpPr>
          <a:xfrm>
            <a:off x="272480" y="1196751"/>
            <a:ext cx="9361041" cy="4896545"/>
            <a:chOff x="272480" y="1196751"/>
            <a:chExt cx="9361041" cy="4896545"/>
          </a:xfrm>
        </p:grpSpPr>
        <p:sp>
          <p:nvSpPr>
            <p:cNvPr id="3" name="part0" hidden="1"/>
            <p:cNvSpPr/>
            <p:nvPr userDrawn="1"/>
          </p:nvSpPr>
          <p:spPr>
            <a:xfrm>
              <a:off x="272480" y="1196751"/>
              <a:ext cx="9361041" cy="4896545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4" name="part1" hidden="1"/>
            <p:cNvSpPr/>
            <p:nvPr userDrawn="1"/>
          </p:nvSpPr>
          <p:spPr>
            <a:xfrm>
              <a:off x="2000672" y="1196751"/>
              <a:ext cx="288032" cy="4896545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5" name="part2" hidden="1"/>
            <p:cNvSpPr/>
            <p:nvPr userDrawn="1"/>
          </p:nvSpPr>
          <p:spPr>
            <a:xfrm>
              <a:off x="4016896" y="1196751"/>
              <a:ext cx="144016" cy="4896545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" name="part3" hidden="1"/>
            <p:cNvSpPr/>
            <p:nvPr userDrawn="1"/>
          </p:nvSpPr>
          <p:spPr>
            <a:xfrm>
              <a:off x="5889104" y="1196751"/>
              <a:ext cx="144017" cy="4896545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7" name="part4" hidden="1"/>
            <p:cNvSpPr/>
            <p:nvPr userDrawn="1"/>
          </p:nvSpPr>
          <p:spPr>
            <a:xfrm>
              <a:off x="7761313" y="1196751"/>
              <a:ext cx="144016" cy="4896545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8" name="part5" hidden="1"/>
            <p:cNvSpPr/>
            <p:nvPr userDrawn="1"/>
          </p:nvSpPr>
          <p:spPr>
            <a:xfrm>
              <a:off x="272480" y="3573016"/>
              <a:ext cx="9361041" cy="144016"/>
            </a:xfrm>
            <a:prstGeom prst="rect">
              <a:avLst/>
            </a:prstGeom>
            <a:noFill/>
            <a:ln w="3175">
              <a:solidFill>
                <a:srgbClr val="DCDDDD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551031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e Table On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 bwMode="gray">
          <a:xfrm>
            <a:off x="5032245" y="1124745"/>
            <a:ext cx="4602028" cy="4968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2"/>
          </p:nvPr>
        </p:nvSpPr>
        <p:spPr bwMode="gray">
          <a:xfrm>
            <a:off x="194337" y="1125539"/>
            <a:ext cx="4602163" cy="4967287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 smtClean="0"/>
              <a:t>Click icon to add tab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5598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tags" Target="../tags/tag3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tags" Target="../tags/tag2.xml"/><Relationship Id="rId40" Type="http://schemas.openxmlformats.org/officeDocument/2006/relationships/image" Target="../media/image4.emf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9906000" cy="9765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 descr="grey.png"/>
          <p:cNvPicPr>
            <a:picLocks noChangeAspect="1"/>
          </p:cNvPicPr>
          <p:nvPr userDrawn="1"/>
        </p:nvPicPr>
        <p:blipFill>
          <a:blip r:embed="rId49" cstate="print"/>
          <a:stretch>
            <a:fillRect/>
          </a:stretch>
        </p:blipFill>
        <p:spPr>
          <a:xfrm flipV="1">
            <a:off x="1" y="5181600"/>
            <a:ext cx="9905999" cy="1199728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gray">
          <a:xfrm>
            <a:off x="8697417" y="6381332"/>
            <a:ext cx="935534" cy="2809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72000" tIns="72000" rIns="0" bIns="0" anchor="ctr"/>
          <a:lstStyle/>
          <a:p>
            <a:pPr algn="r">
              <a:spcBef>
                <a:spcPct val="40000"/>
              </a:spcBef>
              <a:defRPr/>
            </a:pPr>
            <a:fld id="{6BA71C0A-9F0F-41ED-AE97-DBF05B351E59}" type="slidenum">
              <a:rPr lang="en-GB" sz="2800" b="1">
                <a:solidFill>
                  <a:srgbClr val="00338D"/>
                </a:solidFill>
              </a:rPr>
              <a:pPr algn="r">
                <a:spcBef>
                  <a:spcPct val="40000"/>
                </a:spcBef>
                <a:defRPr/>
              </a:pPr>
              <a:t>‹#›</a:t>
            </a:fld>
            <a:endParaRPr lang="en-GB" sz="2800" b="1" dirty="0">
              <a:solidFill>
                <a:srgbClr val="00338D"/>
              </a:solidFill>
            </a:endParaRPr>
          </a:p>
        </p:txBody>
      </p:sp>
      <p:sp>
        <p:nvSpPr>
          <p:cNvPr id="56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72480" y="1625593"/>
            <a:ext cx="9361040" cy="446723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9" name="Rectangle 58"/>
          <p:cNvSpPr/>
          <p:nvPr/>
        </p:nvSpPr>
        <p:spPr bwMode="gray">
          <a:xfrm>
            <a:off x="9130600" y="6381332"/>
            <a:ext cx="502920" cy="280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66462" tIns="66462" rIns="0" bIns="0" numCol="1" anchor="t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40000"/>
              </a:spcBef>
              <a:spcAft>
                <a:spcPct val="0"/>
              </a:spcAft>
            </a:pPr>
            <a:endParaRPr lang="en-GB" sz="831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20" name="Rectangle 7"/>
          <p:cNvSpPr/>
          <p:nvPr userDrawn="1"/>
        </p:nvSpPr>
        <p:spPr>
          <a:xfrm>
            <a:off x="18288" y="486603"/>
            <a:ext cx="8439912" cy="489979"/>
          </a:xfrm>
          <a:custGeom>
            <a:avLst/>
            <a:gdLst>
              <a:gd name="connsiteX0" fmla="*/ 0 w 4433777"/>
              <a:gd name="connsiteY0" fmla="*/ 0 h 723014"/>
              <a:gd name="connsiteX1" fmla="*/ 4433777 w 4433777"/>
              <a:gd name="connsiteY1" fmla="*/ 0 h 723014"/>
              <a:gd name="connsiteX2" fmla="*/ 4433777 w 4433777"/>
              <a:gd name="connsiteY2" fmla="*/ 723014 h 723014"/>
              <a:gd name="connsiteX3" fmla="*/ 0 w 4433777"/>
              <a:gd name="connsiteY3" fmla="*/ 723014 h 723014"/>
              <a:gd name="connsiteX4" fmla="*/ 0 w 4433777"/>
              <a:gd name="connsiteY4" fmla="*/ 0 h 723014"/>
              <a:gd name="connsiteX0" fmla="*/ 0 w 4664758"/>
              <a:gd name="connsiteY0" fmla="*/ 0 h 723014"/>
              <a:gd name="connsiteX1" fmla="*/ 4664758 w 4664758"/>
              <a:gd name="connsiteY1" fmla="*/ 0 h 723014"/>
              <a:gd name="connsiteX2" fmla="*/ 4433777 w 4664758"/>
              <a:gd name="connsiteY2" fmla="*/ 723014 h 723014"/>
              <a:gd name="connsiteX3" fmla="*/ 0 w 4664758"/>
              <a:gd name="connsiteY3" fmla="*/ 723014 h 723014"/>
              <a:gd name="connsiteX4" fmla="*/ 0 w 4664758"/>
              <a:gd name="connsiteY4" fmla="*/ 0 h 723014"/>
              <a:gd name="connsiteX0" fmla="*/ 0 w 4620988"/>
              <a:gd name="connsiteY0" fmla="*/ 0 h 723014"/>
              <a:gd name="connsiteX1" fmla="*/ 4620988 w 4620988"/>
              <a:gd name="connsiteY1" fmla="*/ 0 h 723014"/>
              <a:gd name="connsiteX2" fmla="*/ 4433777 w 4620988"/>
              <a:gd name="connsiteY2" fmla="*/ 723014 h 723014"/>
              <a:gd name="connsiteX3" fmla="*/ 0 w 4620988"/>
              <a:gd name="connsiteY3" fmla="*/ 723014 h 723014"/>
              <a:gd name="connsiteX4" fmla="*/ 0 w 4620988"/>
              <a:gd name="connsiteY4" fmla="*/ 0 h 723014"/>
              <a:gd name="connsiteX0" fmla="*/ 0 w 4620988"/>
              <a:gd name="connsiteY0" fmla="*/ 0 h 723014"/>
              <a:gd name="connsiteX1" fmla="*/ 4620988 w 4620988"/>
              <a:gd name="connsiteY1" fmla="*/ 0 h 723014"/>
              <a:gd name="connsiteX2" fmla="*/ 4512195 w 4620988"/>
              <a:gd name="connsiteY2" fmla="*/ 713423 h 723014"/>
              <a:gd name="connsiteX3" fmla="*/ 0 w 4620988"/>
              <a:gd name="connsiteY3" fmla="*/ 723014 h 723014"/>
              <a:gd name="connsiteX4" fmla="*/ 0 w 4620988"/>
              <a:gd name="connsiteY4" fmla="*/ 0 h 723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20988" h="723014">
                <a:moveTo>
                  <a:pt x="0" y="0"/>
                </a:moveTo>
                <a:lnTo>
                  <a:pt x="4620988" y="0"/>
                </a:lnTo>
                <a:lnTo>
                  <a:pt x="4512195" y="713423"/>
                </a:lnTo>
                <a:lnTo>
                  <a:pt x="0" y="723014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381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defTabSz="990570">
              <a:spcBef>
                <a:spcPct val="50000"/>
              </a:spcBef>
            </a:pPr>
            <a:endParaRPr lang="en-US" sz="1950" dirty="0">
              <a:solidFill>
                <a:srgbClr val="000000"/>
              </a:solidFill>
            </a:endParaRPr>
          </a:p>
        </p:txBody>
      </p:sp>
      <p:sp>
        <p:nvSpPr>
          <p:cNvPr id="22" name="Parallelogram 21"/>
          <p:cNvSpPr/>
          <p:nvPr userDrawn="1"/>
        </p:nvSpPr>
        <p:spPr>
          <a:xfrm>
            <a:off x="8462148" y="0"/>
            <a:ext cx="1443852" cy="533401"/>
          </a:xfrm>
          <a:prstGeom prst="parallelogram">
            <a:avLst>
              <a:gd name="adj" fmla="val 31961"/>
            </a:avLst>
          </a:pr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3810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noAutofit/>
          </a:bodyPr>
          <a:lstStyle/>
          <a:p>
            <a:pPr defTabSz="990570">
              <a:spcBef>
                <a:spcPct val="50000"/>
              </a:spcBef>
            </a:pPr>
            <a:endParaRPr lang="en-US" sz="1950" dirty="0" smtClean="0">
              <a:solidFill>
                <a:srgbClr val="000000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381327"/>
            <a:ext cx="9906000" cy="0"/>
          </a:xfrm>
          <a:prstGeom prst="line">
            <a:avLst/>
          </a:prstGeom>
          <a:ln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Box 8"/>
          <p:cNvSpPr txBox="1">
            <a:spLocks noChangeArrowheads="1"/>
          </p:cNvSpPr>
          <p:nvPr userDrawn="1"/>
        </p:nvSpPr>
        <p:spPr bwMode="gray">
          <a:xfrm>
            <a:off x="272482" y="6381327"/>
            <a:ext cx="8580953" cy="365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78000" rIns="0" bIns="0">
            <a:noAutofit/>
          </a:bodyPr>
          <a:lstStyle/>
          <a:p>
            <a:pPr algn="l">
              <a:spcBef>
                <a:spcPct val="40000"/>
              </a:spcBef>
            </a:pPr>
            <a:r>
              <a:rPr lang="ru-RU" sz="600" dirty="0" smtClean="0">
                <a:solidFill>
                  <a:srgbClr val="00338D"/>
                </a:solidFill>
                <a:latin typeface="+mn-lt"/>
              </a:rPr>
              <a:t>© 2016 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International Cooperative (“KPMG International”), зарегистрированную по законодательству Швейцарии. Все права защищены. </a:t>
            </a:r>
            <a:endParaRPr lang="en-US" sz="600" dirty="0">
              <a:solidFill>
                <a:srgbClr val="00338D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9962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  <p:sldLayoutId id="2147483840" r:id="rId27"/>
    <p:sldLayoutId id="2147483841" r:id="rId28"/>
    <p:sldLayoutId id="2147483842" r:id="rId29"/>
    <p:sldLayoutId id="2147483843" r:id="rId30"/>
    <p:sldLayoutId id="2147483844" r:id="rId31"/>
    <p:sldLayoutId id="2147483845" r:id="rId32"/>
    <p:sldLayoutId id="2147483846" r:id="rId33"/>
    <p:sldLayoutId id="2147483847" r:id="rId34"/>
    <p:sldLayoutId id="2147483848" r:id="rId35"/>
    <p:sldLayoutId id="2147483849" r:id="rId36"/>
    <p:sldLayoutId id="2147483850" r:id="rId37"/>
    <p:sldLayoutId id="2147483851" r:id="rId38"/>
    <p:sldLayoutId id="2147483852" r:id="rId39"/>
    <p:sldLayoutId id="2147483853" r:id="rId40"/>
    <p:sldLayoutId id="2147483854" r:id="rId41"/>
    <p:sldLayoutId id="2147483856" r:id="rId42"/>
    <p:sldLayoutId id="2147483857" r:id="rId43"/>
    <p:sldLayoutId id="2147483859" r:id="rId44"/>
    <p:sldLayoutId id="2147483861" r:id="rId45"/>
    <p:sldLayoutId id="2147483864" r:id="rId46"/>
    <p:sldLayoutId id="2147484074" r:id="rId47"/>
  </p:sldLayoutIdLst>
  <p:timing>
    <p:tnLst>
      <p:par>
        <p:cTn id="1" dur="indefinite" restart="never" nodeType="tmRoot"/>
      </p:par>
    </p:tnLst>
  </p:timing>
  <p:txStyles>
    <p:titleStyle>
      <a:lvl1pPr algn="l" defTabSz="844083" rtl="0" eaLnBrk="1" latinLnBrk="0" hangingPunct="1">
        <a:spcBef>
          <a:spcPct val="0"/>
        </a:spcBef>
        <a:buNone/>
        <a:defRPr lang="en-GB" sz="1477" b="1" kern="1200" noProof="0" dirty="0" smtClean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eaLnBrk="1" hangingPunct="1">
        <a:defRPr sz="1477" b="1">
          <a:solidFill>
            <a:srgbClr val="00338D"/>
          </a:solidFill>
          <a:latin typeface="+mj-lt"/>
        </a:defRPr>
      </a:lvl2pPr>
      <a:lvl3pPr eaLnBrk="1" hangingPunct="1">
        <a:defRPr sz="1477" b="1">
          <a:solidFill>
            <a:srgbClr val="00338D"/>
          </a:solidFill>
          <a:latin typeface="+mj-lt"/>
        </a:defRPr>
      </a:lvl3pPr>
      <a:lvl4pPr eaLnBrk="1" hangingPunct="1">
        <a:defRPr sz="1477" b="1">
          <a:solidFill>
            <a:srgbClr val="00338D"/>
          </a:solidFill>
          <a:latin typeface="+mj-lt"/>
        </a:defRPr>
      </a:lvl4pPr>
      <a:lvl5pPr eaLnBrk="1" hangingPunct="1">
        <a:defRPr sz="1477" b="1">
          <a:solidFill>
            <a:srgbClr val="00338D"/>
          </a:solidFill>
          <a:latin typeface="+mj-lt"/>
        </a:defRPr>
      </a:lvl5pPr>
      <a:lvl6pPr eaLnBrk="1" hangingPunct="1">
        <a:defRPr sz="1477" b="1">
          <a:solidFill>
            <a:srgbClr val="00338D"/>
          </a:solidFill>
          <a:latin typeface="+mj-lt"/>
        </a:defRPr>
      </a:lvl6pPr>
      <a:lvl7pPr eaLnBrk="1" hangingPunct="1">
        <a:defRPr sz="1477" b="1">
          <a:solidFill>
            <a:srgbClr val="00338D"/>
          </a:solidFill>
          <a:latin typeface="+mj-lt"/>
        </a:defRPr>
      </a:lvl7pPr>
      <a:lvl8pPr eaLnBrk="1" hangingPunct="1">
        <a:defRPr sz="1477" b="1">
          <a:solidFill>
            <a:srgbClr val="00338D"/>
          </a:solidFill>
          <a:latin typeface="+mj-lt"/>
        </a:defRPr>
      </a:lvl8pPr>
      <a:lvl9pPr eaLnBrk="1" hangingPunct="1">
        <a:defRPr sz="1477" b="1">
          <a:solidFill>
            <a:srgbClr val="00338D"/>
          </a:solidFill>
          <a:latin typeface="+mj-lt"/>
        </a:defRPr>
      </a:lvl9pPr>
    </p:titleStyle>
    <p:bodyStyle>
      <a:lvl1pPr marL="0" indent="0" algn="l" defTabSz="844083" rtl="0" eaLnBrk="1" latinLnBrk="0" hangingPunct="1">
        <a:lnSpc>
          <a:spcPct val="100000"/>
        </a:lnSpc>
        <a:spcBef>
          <a:spcPts val="554"/>
        </a:spcBef>
        <a:buFont typeface="Arial" pitchFamily="34" charset="0"/>
        <a:buNone/>
        <a:defRPr lang="en-US" sz="831" b="1" kern="1200" noProof="0" dirty="0" smtClean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0" indent="0" algn="l" defTabSz="844083" rtl="0" eaLnBrk="1" latinLnBrk="0" hangingPunct="1">
        <a:lnSpc>
          <a:spcPct val="100000"/>
        </a:lnSpc>
        <a:spcBef>
          <a:spcPts val="554"/>
        </a:spcBef>
        <a:buFont typeface="Arial" pitchFamily="34" charset="0"/>
        <a:buNone/>
        <a:defRPr lang="en-US" sz="831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64127" indent="-164127" algn="l" defTabSz="844083" rtl="0" eaLnBrk="1" latinLnBrk="0" hangingPunct="1">
        <a:lnSpc>
          <a:spcPct val="100000"/>
        </a:lnSpc>
        <a:spcBef>
          <a:spcPts val="554"/>
        </a:spcBef>
        <a:buClr>
          <a:srgbClr val="97989A"/>
        </a:buClr>
        <a:buFont typeface="Arial" pitchFamily="34" charset="0"/>
        <a:buChar char="■"/>
        <a:defRPr lang="en-US" sz="831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28254" indent="-164127" algn="l" defTabSz="844083" rtl="0" eaLnBrk="1" latinLnBrk="0" hangingPunct="1">
        <a:lnSpc>
          <a:spcPct val="100000"/>
        </a:lnSpc>
        <a:spcBef>
          <a:spcPts val="554"/>
        </a:spcBef>
        <a:buClr>
          <a:srgbClr val="97989A"/>
        </a:buClr>
        <a:buFont typeface="Arial" pitchFamily="34" charset="0"/>
        <a:buChar char="–"/>
        <a:defRPr lang="en-US" sz="831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493847" indent="-161196" algn="l" defTabSz="844083" rtl="0" eaLnBrk="1" latinLnBrk="0" hangingPunct="1">
        <a:lnSpc>
          <a:spcPct val="100000"/>
        </a:lnSpc>
        <a:spcBef>
          <a:spcPts val="554"/>
        </a:spcBef>
        <a:buClr>
          <a:srgbClr val="97989A"/>
        </a:buClr>
        <a:buFont typeface="Arial" pitchFamily="34" charset="0"/>
        <a:buChar char="■"/>
        <a:defRPr lang="en-GB" sz="831" b="0" kern="1200" baseline="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665301" indent="-171455" algn="l" defTabSz="844083" rtl="0" eaLnBrk="1" latinLnBrk="0" hangingPunct="1">
        <a:lnSpc>
          <a:spcPct val="110000"/>
        </a:lnSpc>
        <a:spcBef>
          <a:spcPts val="554"/>
        </a:spcBef>
        <a:buClr>
          <a:srgbClr val="97989A"/>
        </a:buClr>
        <a:buFont typeface="Arial" pitchFamily="34" charset="0"/>
        <a:buChar char="–"/>
        <a:defRPr lang="en-GB" sz="831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26498" indent="-161196" algn="l" defTabSz="844083" rtl="0" eaLnBrk="1" latinLnBrk="0" hangingPunct="1">
        <a:lnSpc>
          <a:spcPct val="110000"/>
        </a:lnSpc>
        <a:spcBef>
          <a:spcPts val="554"/>
        </a:spcBef>
        <a:buClr>
          <a:srgbClr val="97989A"/>
        </a:buClr>
        <a:buFont typeface="Arial" pitchFamily="34" charset="0"/>
        <a:buChar char="■"/>
        <a:defRPr lang="en-GB" sz="831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997952" indent="-171455" algn="l" defTabSz="844083" rtl="0" eaLnBrk="1" latinLnBrk="0" hangingPunct="1">
        <a:lnSpc>
          <a:spcPct val="110000"/>
        </a:lnSpc>
        <a:spcBef>
          <a:spcPts val="554"/>
        </a:spcBef>
        <a:buClr>
          <a:srgbClr val="97989A"/>
        </a:buClr>
        <a:buFont typeface="Arial" pitchFamily="34" charset="0"/>
        <a:buChar char="–"/>
        <a:defRPr lang="en-GB" sz="831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159149" indent="-161196" algn="l" defTabSz="844083" rtl="0" eaLnBrk="1" latinLnBrk="0" hangingPunct="1">
        <a:lnSpc>
          <a:spcPct val="110000"/>
        </a:lnSpc>
        <a:spcBef>
          <a:spcPts val="554"/>
        </a:spcBef>
        <a:buClr>
          <a:srgbClr val="97989A"/>
        </a:buClr>
        <a:buFont typeface="Arial" pitchFamily="34" charset="0"/>
        <a:buChar char="■"/>
        <a:defRPr lang="en-GB" sz="831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ext Placeholder 50"/>
          <p:cNvSpPr>
            <a:spLocks noGrp="1"/>
          </p:cNvSpPr>
          <p:nvPr>
            <p:ph type="body" idx="1"/>
          </p:nvPr>
        </p:nvSpPr>
        <p:spPr bwMode="gray">
          <a:xfrm>
            <a:off x="194471" y="1124745"/>
            <a:ext cx="9439049" cy="49685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grpSp>
        <p:nvGrpSpPr>
          <p:cNvPr id="18" name="Group 17"/>
          <p:cNvGrpSpPr/>
          <p:nvPr userDrawn="1"/>
        </p:nvGrpSpPr>
        <p:grpSpPr bwMode="gray">
          <a:xfrm>
            <a:off x="194471" y="1124744"/>
            <a:ext cx="9439049" cy="4968552"/>
            <a:chOff x="179512" y="1124744"/>
            <a:chExt cx="8712968" cy="4968552"/>
          </a:xfrm>
          <a:noFill/>
        </p:grpSpPr>
        <p:sp>
          <p:nvSpPr>
            <p:cNvPr id="29" name="Rectangle 28"/>
            <p:cNvSpPr>
              <a:spLocks noChangeArrowheads="1"/>
            </p:cNvSpPr>
            <p:nvPr userDrawn="1"/>
          </p:nvSpPr>
          <p:spPr bwMode="gray">
            <a:xfrm>
              <a:off x="179512" y="1125120"/>
              <a:ext cx="8712968" cy="496800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>
                <a:spcBef>
                  <a:spcPct val="50000"/>
                </a:spcBef>
                <a:defRPr/>
              </a:pPr>
              <a:endParaRPr lang="en-GB" sz="18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 userDrawn="1"/>
          </p:nvSpPr>
          <p:spPr bwMode="gray">
            <a:xfrm>
              <a:off x="442824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>
                <a:spcBef>
                  <a:spcPct val="50000"/>
                </a:spcBef>
                <a:defRPr/>
              </a:pPr>
              <a:endParaRPr lang="en-GB" sz="18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 userDrawn="1"/>
          </p:nvSpPr>
          <p:spPr bwMode="gray">
            <a:xfrm rot="5400000">
              <a:off x="4428240" y="-747120"/>
              <a:ext cx="216000" cy="8712480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>
                <a:spcBef>
                  <a:spcPct val="50000"/>
                </a:spcBef>
                <a:defRPr/>
              </a:pPr>
              <a:endParaRPr lang="en-GB" sz="18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 userDrawn="1"/>
          </p:nvSpPr>
          <p:spPr bwMode="gray">
            <a:xfrm>
              <a:off x="219612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>
                <a:spcBef>
                  <a:spcPct val="50000"/>
                </a:spcBef>
                <a:defRPr/>
              </a:pPr>
              <a:endParaRPr lang="en-GB" sz="18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33" name="Rectangle 32"/>
            <p:cNvSpPr>
              <a:spLocks noChangeArrowheads="1"/>
            </p:cNvSpPr>
            <p:nvPr userDrawn="1"/>
          </p:nvSpPr>
          <p:spPr bwMode="gray">
            <a:xfrm>
              <a:off x="6660360" y="1124744"/>
              <a:ext cx="216000" cy="4968552"/>
            </a:xfrm>
            <a:prstGeom prst="rect">
              <a:avLst/>
            </a:prstGeom>
            <a:grp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>
                <a:spcBef>
                  <a:spcPct val="50000"/>
                </a:spcBef>
                <a:defRPr/>
              </a:pPr>
              <a:endParaRPr lang="en-GB" sz="1800" dirty="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Group 47"/>
          <p:cNvGrpSpPr/>
          <p:nvPr userDrawn="1"/>
        </p:nvGrpSpPr>
        <p:grpSpPr bwMode="gray">
          <a:xfrm>
            <a:off x="0" y="836712"/>
            <a:ext cx="9906000" cy="5544616"/>
            <a:chOff x="0" y="836712"/>
            <a:chExt cx="9144000" cy="5544616"/>
          </a:xfrm>
          <a:noFill/>
        </p:grpSpPr>
        <p:sp>
          <p:nvSpPr>
            <p:cNvPr id="24" name="Rectangle 23"/>
            <p:cNvSpPr>
              <a:spLocks noChangeArrowheads="1"/>
            </p:cNvSpPr>
            <p:nvPr userDrawn="1"/>
          </p:nvSpPr>
          <p:spPr bwMode="gray">
            <a:xfrm rot="16200000">
              <a:off x="4426396" y="944728"/>
              <a:ext cx="288032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5" name="Rectangle 5"/>
            <p:cNvSpPr>
              <a:spLocks noChangeArrowheads="1"/>
            </p:cNvSpPr>
            <p:nvPr userDrawn="1"/>
          </p:nvSpPr>
          <p:spPr bwMode="gray">
            <a:xfrm rot="16200000">
              <a:off x="4426397" y="6201312"/>
              <a:ext cx="288032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4"/>
            <p:cNvSpPr/>
            <p:nvPr userDrawn="1"/>
          </p:nvSpPr>
          <p:spPr bwMode="gray">
            <a:xfrm flipV="1">
              <a:off x="0" y="3573120"/>
              <a:ext cx="180000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 bwMode="gray">
            <a:xfrm>
              <a:off x="8892480" y="3573120"/>
              <a:ext cx="251520" cy="72000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Freeform 20"/>
          <p:cNvSpPr>
            <a:spLocks noChangeAspect="1"/>
          </p:cNvSpPr>
          <p:nvPr userDrawn="1"/>
        </p:nvSpPr>
        <p:spPr bwMode="gray">
          <a:xfrm>
            <a:off x="1" y="1"/>
            <a:ext cx="9902560" cy="8350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729"/>
              </a:cxn>
              <a:cxn ang="0">
                <a:pos x="18422" y="1729"/>
              </a:cxn>
              <a:cxn ang="0">
                <a:pos x="18935" y="0"/>
              </a:cxn>
              <a:cxn ang="0">
                <a:pos x="0" y="0"/>
              </a:cxn>
            </a:cxnLst>
            <a:rect l="0" t="0" r="r" b="b"/>
            <a:pathLst>
              <a:path w="18935" h="1729">
                <a:moveTo>
                  <a:pt x="0" y="0"/>
                </a:moveTo>
                <a:lnTo>
                  <a:pt x="0" y="1729"/>
                </a:lnTo>
                <a:lnTo>
                  <a:pt x="18422" y="1729"/>
                </a:lnTo>
                <a:lnTo>
                  <a:pt x="18935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34" name="Line 10"/>
          <p:cNvSpPr>
            <a:spLocks noChangeShapeType="1"/>
          </p:cNvSpPr>
          <p:nvPr userDrawn="1"/>
        </p:nvSpPr>
        <p:spPr bwMode="gray">
          <a:xfrm>
            <a:off x="194471" y="6381332"/>
            <a:ext cx="9439049" cy="0"/>
          </a:xfrm>
          <a:prstGeom prst="line">
            <a:avLst/>
          </a:prstGeom>
          <a:noFill/>
          <a:ln w="3175">
            <a:solidFill>
              <a:srgbClr val="97989A"/>
            </a:solidFill>
            <a:round/>
            <a:headEnd/>
            <a:tailEnd/>
          </a:ln>
        </p:spPr>
        <p:txBody>
          <a:bodyPr/>
          <a:lstStyle/>
          <a:p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35" name="Text Box 8"/>
          <p:cNvSpPr txBox="1">
            <a:spLocks noChangeArrowheads="1"/>
          </p:cNvSpPr>
          <p:nvPr userDrawn="1"/>
        </p:nvSpPr>
        <p:spPr bwMode="gray">
          <a:xfrm>
            <a:off x="194471" y="6381328"/>
            <a:ext cx="8658962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0">
            <a:spAutoFit/>
          </a:bodyPr>
          <a:lstStyle/>
          <a:p>
            <a:pPr>
              <a:spcBef>
                <a:spcPct val="40000"/>
              </a:spcBef>
            </a:pPr>
            <a:r>
              <a:rPr lang="ru-RU" sz="700" dirty="0" smtClean="0">
                <a:solidFill>
                  <a:srgbClr val="00338D"/>
                </a:solidFill>
              </a:rPr>
              <a:t>© 2015 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International Cooperative (“KPMG International”), зарегистрированную по законодательству Швейцарии. Все права защищены. </a:t>
            </a:r>
            <a:endParaRPr lang="en-US" sz="700" dirty="0">
              <a:solidFill>
                <a:srgbClr val="00338D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9088690" y="6381332"/>
            <a:ext cx="544830" cy="280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72000" tIns="72000" rIns="0" bIns="0" numCol="1" anchor="t" anchorCtr="0" compatLnSpc="1">
            <a:prstTxWarp prst="textNoShape">
              <a:avLst/>
            </a:prstTxWarp>
          </a:bodyPr>
          <a:lstStyle/>
          <a:p>
            <a:pPr algn="r" fontAlgn="base">
              <a:spcBef>
                <a:spcPct val="40000"/>
              </a:spcBef>
              <a:spcAft>
                <a:spcPct val="0"/>
              </a:spcAft>
            </a:pPr>
            <a:fld id="{358FC8E3-FE67-4452-9F4E-9A47A20D0542}" type="slidenum">
              <a:rPr lang="en-GB" sz="900" smtClean="0">
                <a:solidFill>
                  <a:srgbClr val="00338D"/>
                </a:solidFill>
                <a:cs typeface="Arial" charset="0"/>
              </a:rPr>
              <a:pPr algn="r" fontAlgn="base">
                <a:spcBef>
                  <a:spcPct val="40000"/>
                </a:spcBef>
                <a:spcAft>
                  <a:spcPct val="0"/>
                </a:spcAft>
              </a:pPr>
              <a:t>‹#›</a:t>
            </a:fld>
            <a:endParaRPr lang="en-GB" sz="900" dirty="0">
              <a:solidFill>
                <a:srgbClr val="00338D"/>
              </a:solidFill>
              <a:cs typeface="Arial" charset="0"/>
            </a:endParaRPr>
          </a:p>
        </p:txBody>
      </p:sp>
      <p:sp>
        <p:nvSpPr>
          <p:cNvPr id="46" name="Title Placeholder 45"/>
          <p:cNvSpPr>
            <a:spLocks noGrp="1"/>
          </p:cNvSpPr>
          <p:nvPr>
            <p:ph type="title"/>
          </p:nvPr>
        </p:nvSpPr>
        <p:spPr bwMode="gray">
          <a:xfrm>
            <a:off x="194471" y="116632"/>
            <a:ext cx="9439049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247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3931" r:id="rId12"/>
    <p:sldLayoutId id="2147483932" r:id="rId13"/>
    <p:sldLayoutId id="2147483933" r:id="rId14"/>
    <p:sldLayoutId id="2147483934" r:id="rId15"/>
    <p:sldLayoutId id="2147483935" r:id="rId16"/>
    <p:sldLayoutId id="2147483936" r:id="rId17"/>
    <p:sldLayoutId id="2147483937" r:id="rId18"/>
    <p:sldLayoutId id="2147483938" r:id="rId19"/>
    <p:sldLayoutId id="2147483939" r:id="rId20"/>
    <p:sldLayoutId id="2147483940" r:id="rId21"/>
    <p:sldLayoutId id="2147483941" r:id="rId22"/>
    <p:sldLayoutId id="2147483942" r:id="rId23"/>
    <p:sldLayoutId id="2147483943" r:id="rId24"/>
    <p:sldLayoutId id="2147483944" r:id="rId25"/>
    <p:sldLayoutId id="2147483945" r:id="rId26"/>
  </p:sldLayoutIdLst>
  <p:txStyles>
    <p:titleStyle>
      <a:lvl1pPr algn="l" defTabSz="914400" rtl="0" eaLnBrk="1" latinLnBrk="0" hangingPunct="1">
        <a:spcBef>
          <a:spcPct val="0"/>
        </a:spcBef>
        <a:buNone/>
        <a:defRPr lang="en-GB" sz="2000" b="1" kern="1200" noProof="0" dirty="0" smtClean="0">
          <a:solidFill>
            <a:schemeClr val="bg1"/>
          </a:solidFill>
          <a:latin typeface="Arial"/>
          <a:ea typeface="+mj-ea"/>
          <a:cs typeface="Arial" pitchFamily="34" charset="0"/>
        </a:defRPr>
      </a:lvl1pPr>
      <a:lvl2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2pPr>
      <a:lvl3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3pPr>
      <a:lvl4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4pPr>
      <a:lvl5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5pPr>
      <a:lvl6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6pPr>
      <a:lvl7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7pPr>
      <a:lvl8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8pPr>
      <a:lvl9pPr eaLnBrk="1" hangingPunct="1">
        <a:defRPr lang="en-GB" sz="1800" b="1" kern="1200" noProof="0" dirty="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lang="en-US" sz="1600" b="1" kern="1200" noProof="0" dirty="0" smtClean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273050" indent="-273050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536575" indent="-263525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tabLst/>
        <a:defRPr lang="en-US" sz="16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809625" indent="-271463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tabLst/>
        <a:defRPr lang="en-GB" sz="1600" b="0" kern="1200" baseline="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1082675" indent="-273050" algn="l" defTabSz="893763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defRPr lang="en-GB" sz="16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6pPr>
      <a:lvl7pPr marL="1344613" indent="-266700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GB" sz="1600" kern="1200" baseline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7pPr>
      <a:lvl8pPr marL="1619250" indent="-274638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–"/>
        <a:defRPr lang="en-GB" sz="1600" kern="1200" dirty="0" smtClean="0">
          <a:solidFill>
            <a:schemeClr val="tx1"/>
          </a:solidFill>
          <a:latin typeface="Arial"/>
          <a:ea typeface="+mn-ea"/>
          <a:cs typeface="+mn-cs"/>
        </a:defRPr>
      </a:lvl8pPr>
      <a:lvl9pPr marL="1876425" indent="-257175" algn="l" defTabSz="914400" rtl="0" eaLnBrk="1" latinLnBrk="0" hangingPunct="1">
        <a:lnSpc>
          <a:spcPct val="100000"/>
        </a:lnSpc>
        <a:spcBef>
          <a:spcPts val="1200"/>
        </a:spcBef>
        <a:buClr>
          <a:srgbClr val="97989A"/>
        </a:buClr>
        <a:buFont typeface="Arial" pitchFamily="34" charset="0"/>
        <a:buChar char="■"/>
        <a:defRPr lang="en-GB" sz="1600" kern="120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55"/>
          <p:cNvSpPr>
            <a:spLocks noGrp="1"/>
          </p:cNvSpPr>
          <p:nvPr>
            <p:ph type="body" idx="1"/>
          </p:nvPr>
        </p:nvSpPr>
        <p:spPr bwMode="gray">
          <a:xfrm>
            <a:off x="272480" y="1196753"/>
            <a:ext cx="9361040" cy="48960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logobgn"/>
          <p:cNvSpPr>
            <a:spLocks/>
          </p:cNvSpPr>
          <p:nvPr/>
        </p:nvSpPr>
        <p:spPr bwMode="gray">
          <a:xfrm>
            <a:off x="0" y="-1588"/>
            <a:ext cx="2270125" cy="9080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572"/>
              </a:cxn>
              <a:cxn ang="0">
                <a:pos x="1260" y="572"/>
              </a:cxn>
              <a:cxn ang="0">
                <a:pos x="1430" y="0"/>
              </a:cxn>
              <a:cxn ang="0">
                <a:pos x="0" y="0"/>
              </a:cxn>
            </a:cxnLst>
            <a:rect l="0" t="0" r="r" b="b"/>
            <a:pathLst>
              <a:path w="1430" h="572">
                <a:moveTo>
                  <a:pt x="0" y="0"/>
                </a:moveTo>
                <a:lnTo>
                  <a:pt x="0" y="572"/>
                </a:lnTo>
                <a:lnTo>
                  <a:pt x="1260" y="572"/>
                </a:lnTo>
                <a:lnTo>
                  <a:pt x="1430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257A">
                  <a:alpha val="90000"/>
                </a:srgbClr>
              </a:gs>
              <a:gs pos="35000">
                <a:srgbClr val="00338D">
                  <a:alpha val="90000"/>
                </a:srgbClr>
              </a:gs>
              <a:gs pos="100000">
                <a:srgbClr val="009FDA">
                  <a:alpha val="90000"/>
                </a:srgbClr>
              </a:gs>
            </a:gsLst>
            <a:lin ang="0" scaled="1"/>
            <a:tileRect/>
          </a:gradFill>
          <a:ln w="9525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55" name="Title Placeholder 54"/>
          <p:cNvSpPr>
            <a:spLocks noGrp="1"/>
          </p:cNvSpPr>
          <p:nvPr>
            <p:ph type="title"/>
          </p:nvPr>
        </p:nvSpPr>
        <p:spPr bwMode="gray">
          <a:xfrm>
            <a:off x="2288704" y="116632"/>
            <a:ext cx="7344246" cy="5760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GB" dirty="0" smtClean="0"/>
              <a:t>[Enter slide </a:t>
            </a:r>
            <a:r>
              <a:rPr lang="en-US" dirty="0" smtClean="0"/>
              <a:t>title</a:t>
            </a:r>
            <a:r>
              <a:rPr lang="en-GB" dirty="0" smtClean="0"/>
              <a:t>]</a:t>
            </a:r>
            <a:endParaRPr lang="en-GB" dirty="0"/>
          </a:p>
        </p:txBody>
      </p:sp>
      <p:grpSp>
        <p:nvGrpSpPr>
          <p:cNvPr id="2" name="logo"/>
          <p:cNvGrpSpPr>
            <a:grpSpLocks/>
          </p:cNvGrpSpPr>
          <p:nvPr userDrawn="1"/>
        </p:nvGrpSpPr>
        <p:grpSpPr bwMode="gray">
          <a:xfrm>
            <a:off x="107950" y="0"/>
            <a:ext cx="1258888" cy="928688"/>
            <a:chOff x="68" y="0"/>
            <a:chExt cx="793" cy="585"/>
          </a:xfrm>
        </p:grpSpPr>
        <p:sp>
          <p:nvSpPr>
            <p:cNvPr id="13" name="Freeform 6"/>
            <p:cNvSpPr>
              <a:spLocks noEditPoints="1"/>
            </p:cNvSpPr>
            <p:nvPr userDrawn="1"/>
          </p:nvSpPr>
          <p:spPr bwMode="gray">
            <a:xfrm>
              <a:off x="162" y="179"/>
              <a:ext cx="572" cy="230"/>
            </a:xfrm>
            <a:custGeom>
              <a:avLst/>
              <a:gdLst>
                <a:gd name="T0" fmla="*/ 2168 w 2285"/>
                <a:gd name="T1" fmla="*/ 620 h 917"/>
                <a:gd name="T2" fmla="*/ 1796 w 2285"/>
                <a:gd name="T3" fmla="*/ 698 h 917"/>
                <a:gd name="T4" fmla="*/ 1974 w 2285"/>
                <a:gd name="T5" fmla="*/ 486 h 917"/>
                <a:gd name="T6" fmla="*/ 2175 w 2285"/>
                <a:gd name="T7" fmla="*/ 448 h 917"/>
                <a:gd name="T8" fmla="*/ 1796 w 2285"/>
                <a:gd name="T9" fmla="*/ 18 h 917"/>
                <a:gd name="T10" fmla="*/ 2268 w 2285"/>
                <a:gd name="T11" fmla="*/ 698 h 917"/>
                <a:gd name="T12" fmla="*/ 1794 w 2285"/>
                <a:gd name="T13" fmla="*/ 716 h 917"/>
                <a:gd name="T14" fmla="*/ 1989 w 2285"/>
                <a:gd name="T15" fmla="*/ 814 h 917"/>
                <a:gd name="T16" fmla="*/ 1654 w 2285"/>
                <a:gd name="T17" fmla="*/ 657 h 917"/>
                <a:gd name="T18" fmla="*/ 1637 w 2285"/>
                <a:gd name="T19" fmla="*/ 417 h 917"/>
                <a:gd name="T20" fmla="*/ 1246 w 2285"/>
                <a:gd name="T21" fmla="*/ 698 h 917"/>
                <a:gd name="T22" fmla="*/ 1718 w 2285"/>
                <a:gd name="T23" fmla="*/ 425 h 917"/>
                <a:gd name="T24" fmla="*/ 1384 w 2285"/>
                <a:gd name="T25" fmla="*/ 698 h 917"/>
                <a:gd name="T26" fmla="*/ 1454 w 2285"/>
                <a:gd name="T27" fmla="*/ 698 h 917"/>
                <a:gd name="T28" fmla="*/ 969 w 2285"/>
                <a:gd name="T29" fmla="*/ 698 h 917"/>
                <a:gd name="T30" fmla="*/ 943 w 2285"/>
                <a:gd name="T31" fmla="*/ 452 h 917"/>
                <a:gd name="T32" fmla="*/ 697 w 2285"/>
                <a:gd name="T33" fmla="*/ 18 h 917"/>
                <a:gd name="T34" fmla="*/ 1168 w 2285"/>
                <a:gd name="T35" fmla="*/ 417 h 917"/>
                <a:gd name="T36" fmla="*/ 1144 w 2285"/>
                <a:gd name="T37" fmla="*/ 698 h 917"/>
                <a:gd name="T38" fmla="*/ 750 w 2285"/>
                <a:gd name="T39" fmla="*/ 631 h 917"/>
                <a:gd name="T40" fmla="*/ 718 w 2285"/>
                <a:gd name="T41" fmla="*/ 632 h 917"/>
                <a:gd name="T42" fmla="*/ 708 w 2285"/>
                <a:gd name="T43" fmla="*/ 555 h 917"/>
                <a:gd name="T44" fmla="*/ 768 w 2285"/>
                <a:gd name="T45" fmla="*/ 494 h 917"/>
                <a:gd name="T46" fmla="*/ 750 w 2285"/>
                <a:gd name="T47" fmla="*/ 631 h 917"/>
                <a:gd name="T48" fmla="*/ 544 w 2285"/>
                <a:gd name="T49" fmla="*/ 690 h 917"/>
                <a:gd name="T50" fmla="*/ 302 w 2285"/>
                <a:gd name="T51" fmla="*/ 662 h 917"/>
                <a:gd name="T52" fmla="*/ 200 w 2285"/>
                <a:gd name="T53" fmla="*/ 619 h 917"/>
                <a:gd name="T54" fmla="*/ 148 w 2285"/>
                <a:gd name="T55" fmla="*/ 18 h 917"/>
                <a:gd name="T56" fmla="*/ 619 w 2285"/>
                <a:gd name="T57" fmla="*/ 442 h 917"/>
                <a:gd name="T58" fmla="*/ 179 w 2285"/>
                <a:gd name="T59" fmla="*/ 698 h 917"/>
                <a:gd name="T60" fmla="*/ 1778 w 2285"/>
                <a:gd name="T61" fmla="*/ 0 h 917"/>
                <a:gd name="T62" fmla="*/ 1736 w 2285"/>
                <a:gd name="T63" fmla="*/ 0 h 917"/>
                <a:gd name="T64" fmla="*/ 1186 w 2285"/>
                <a:gd name="T65" fmla="*/ 417 h 917"/>
                <a:gd name="T66" fmla="*/ 679 w 2285"/>
                <a:gd name="T67" fmla="*/ 417 h 917"/>
                <a:gd name="T68" fmla="*/ 129 w 2285"/>
                <a:gd name="T69" fmla="*/ 0 h 917"/>
                <a:gd name="T70" fmla="*/ 114 w 2285"/>
                <a:gd name="T71" fmla="*/ 907 h 917"/>
                <a:gd name="T72" fmla="*/ 282 w 2285"/>
                <a:gd name="T73" fmla="*/ 907 h 917"/>
                <a:gd name="T74" fmla="*/ 536 w 2285"/>
                <a:gd name="T75" fmla="*/ 716 h 917"/>
                <a:gd name="T76" fmla="*/ 660 w 2285"/>
                <a:gd name="T77" fmla="*/ 717 h 917"/>
                <a:gd name="T78" fmla="*/ 726 w 2285"/>
                <a:gd name="T79" fmla="*/ 716 h 917"/>
                <a:gd name="T80" fmla="*/ 909 w 2285"/>
                <a:gd name="T81" fmla="*/ 907 h 917"/>
                <a:gd name="T82" fmla="*/ 1144 w 2285"/>
                <a:gd name="T83" fmla="*/ 716 h 917"/>
                <a:gd name="T84" fmla="*/ 1372 w 2285"/>
                <a:gd name="T85" fmla="*/ 716 h 917"/>
                <a:gd name="T86" fmla="*/ 1534 w 2285"/>
                <a:gd name="T87" fmla="*/ 907 h 917"/>
                <a:gd name="T88" fmla="*/ 1697 w 2285"/>
                <a:gd name="T89" fmla="*/ 865 h 917"/>
                <a:gd name="T90" fmla="*/ 2145 w 2285"/>
                <a:gd name="T91" fmla="*/ 716 h 917"/>
                <a:gd name="T92" fmla="*/ 1778 w 2285"/>
                <a:gd name="T93" fmla="*/ 0 h 91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85"/>
                <a:gd name="T142" fmla="*/ 0 h 917"/>
                <a:gd name="T143" fmla="*/ 2285 w 2285"/>
                <a:gd name="T144" fmla="*/ 917 h 91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85" h="917">
                  <a:moveTo>
                    <a:pt x="2268" y="698"/>
                  </a:moveTo>
                  <a:cubicBezTo>
                    <a:pt x="2149" y="698"/>
                    <a:pt x="2149" y="698"/>
                    <a:pt x="2149" y="698"/>
                  </a:cubicBezTo>
                  <a:cubicBezTo>
                    <a:pt x="2168" y="620"/>
                    <a:pt x="2168" y="620"/>
                    <a:pt x="2168" y="620"/>
                  </a:cubicBezTo>
                  <a:cubicBezTo>
                    <a:pt x="1930" y="620"/>
                    <a:pt x="1930" y="620"/>
                    <a:pt x="1930" y="620"/>
                  </a:cubicBezTo>
                  <a:cubicBezTo>
                    <a:pt x="1911" y="698"/>
                    <a:pt x="1911" y="698"/>
                    <a:pt x="1911" y="698"/>
                  </a:cubicBezTo>
                  <a:cubicBezTo>
                    <a:pt x="1796" y="698"/>
                    <a:pt x="1796" y="698"/>
                    <a:pt x="1796" y="698"/>
                  </a:cubicBezTo>
                  <a:cubicBezTo>
                    <a:pt x="1796" y="682"/>
                    <a:pt x="1796" y="682"/>
                    <a:pt x="1796" y="682"/>
                  </a:cubicBezTo>
                  <a:cubicBezTo>
                    <a:pt x="1798" y="674"/>
                    <a:pt x="1799" y="664"/>
                    <a:pt x="1802" y="654"/>
                  </a:cubicBezTo>
                  <a:cubicBezTo>
                    <a:pt x="1822" y="570"/>
                    <a:pt x="1878" y="486"/>
                    <a:pt x="1974" y="486"/>
                  </a:cubicBezTo>
                  <a:cubicBezTo>
                    <a:pt x="2012" y="486"/>
                    <a:pt x="2050" y="501"/>
                    <a:pt x="2045" y="553"/>
                  </a:cubicBezTo>
                  <a:cubicBezTo>
                    <a:pt x="2186" y="553"/>
                    <a:pt x="2186" y="553"/>
                    <a:pt x="2186" y="553"/>
                  </a:cubicBezTo>
                  <a:cubicBezTo>
                    <a:pt x="2192" y="529"/>
                    <a:pt x="2201" y="486"/>
                    <a:pt x="2175" y="448"/>
                  </a:cubicBezTo>
                  <a:cubicBezTo>
                    <a:pt x="2144" y="406"/>
                    <a:pt x="2084" y="390"/>
                    <a:pt x="2005" y="390"/>
                  </a:cubicBezTo>
                  <a:cubicBezTo>
                    <a:pt x="1949" y="390"/>
                    <a:pt x="1867" y="399"/>
                    <a:pt x="1796" y="445"/>
                  </a:cubicBezTo>
                  <a:cubicBezTo>
                    <a:pt x="1796" y="18"/>
                    <a:pt x="1796" y="18"/>
                    <a:pt x="1796" y="18"/>
                  </a:cubicBezTo>
                  <a:cubicBezTo>
                    <a:pt x="2268" y="18"/>
                    <a:pt x="2268" y="18"/>
                    <a:pt x="2268" y="18"/>
                  </a:cubicBezTo>
                  <a:cubicBezTo>
                    <a:pt x="2268" y="698"/>
                    <a:pt x="2268" y="698"/>
                    <a:pt x="2268" y="698"/>
                  </a:cubicBezTo>
                  <a:cubicBezTo>
                    <a:pt x="2268" y="698"/>
                    <a:pt x="2268" y="698"/>
                    <a:pt x="2268" y="698"/>
                  </a:cubicBezTo>
                  <a:close/>
                  <a:moveTo>
                    <a:pt x="1989" y="814"/>
                  </a:moveTo>
                  <a:cubicBezTo>
                    <a:pt x="1962" y="818"/>
                    <a:pt x="1935" y="822"/>
                    <a:pt x="1910" y="822"/>
                  </a:cubicBezTo>
                  <a:cubicBezTo>
                    <a:pt x="1842" y="822"/>
                    <a:pt x="1795" y="790"/>
                    <a:pt x="1794" y="716"/>
                  </a:cubicBezTo>
                  <a:cubicBezTo>
                    <a:pt x="2013" y="716"/>
                    <a:pt x="2013" y="716"/>
                    <a:pt x="2013" y="716"/>
                  </a:cubicBezTo>
                  <a:cubicBezTo>
                    <a:pt x="1989" y="814"/>
                    <a:pt x="1989" y="814"/>
                    <a:pt x="1989" y="814"/>
                  </a:cubicBezTo>
                  <a:cubicBezTo>
                    <a:pt x="1989" y="814"/>
                    <a:pt x="1989" y="814"/>
                    <a:pt x="1989" y="814"/>
                  </a:cubicBezTo>
                  <a:close/>
                  <a:moveTo>
                    <a:pt x="1718" y="425"/>
                  </a:moveTo>
                  <a:cubicBezTo>
                    <a:pt x="1718" y="522"/>
                    <a:pt x="1718" y="522"/>
                    <a:pt x="1718" y="522"/>
                  </a:cubicBezTo>
                  <a:cubicBezTo>
                    <a:pt x="1685" y="568"/>
                    <a:pt x="1664" y="617"/>
                    <a:pt x="1654" y="657"/>
                  </a:cubicBezTo>
                  <a:cubicBezTo>
                    <a:pt x="1651" y="671"/>
                    <a:pt x="1648" y="685"/>
                    <a:pt x="1647" y="698"/>
                  </a:cubicBezTo>
                  <a:cubicBezTo>
                    <a:pt x="1578" y="698"/>
                    <a:pt x="1578" y="698"/>
                    <a:pt x="1578" y="698"/>
                  </a:cubicBezTo>
                  <a:cubicBezTo>
                    <a:pt x="1637" y="417"/>
                    <a:pt x="1637" y="417"/>
                    <a:pt x="1637" y="417"/>
                  </a:cubicBezTo>
                  <a:cubicBezTo>
                    <a:pt x="1437" y="417"/>
                    <a:pt x="1437" y="417"/>
                    <a:pt x="1437" y="417"/>
                  </a:cubicBezTo>
                  <a:cubicBezTo>
                    <a:pt x="1259" y="698"/>
                    <a:pt x="1259" y="698"/>
                    <a:pt x="1259" y="698"/>
                  </a:cubicBezTo>
                  <a:cubicBezTo>
                    <a:pt x="1246" y="698"/>
                    <a:pt x="1246" y="698"/>
                    <a:pt x="1246" y="698"/>
                  </a:cubicBezTo>
                  <a:cubicBezTo>
                    <a:pt x="1246" y="18"/>
                    <a:pt x="1246" y="18"/>
                    <a:pt x="1246" y="18"/>
                  </a:cubicBezTo>
                  <a:cubicBezTo>
                    <a:pt x="1718" y="18"/>
                    <a:pt x="1718" y="18"/>
                    <a:pt x="1718" y="18"/>
                  </a:cubicBezTo>
                  <a:cubicBezTo>
                    <a:pt x="1718" y="425"/>
                    <a:pt x="1718" y="425"/>
                    <a:pt x="1718" y="425"/>
                  </a:cubicBezTo>
                  <a:cubicBezTo>
                    <a:pt x="1718" y="425"/>
                    <a:pt x="1718" y="425"/>
                    <a:pt x="1718" y="425"/>
                  </a:cubicBezTo>
                  <a:close/>
                  <a:moveTo>
                    <a:pt x="1454" y="698"/>
                  </a:moveTo>
                  <a:cubicBezTo>
                    <a:pt x="1384" y="698"/>
                    <a:pt x="1384" y="698"/>
                    <a:pt x="1384" y="698"/>
                  </a:cubicBezTo>
                  <a:cubicBezTo>
                    <a:pt x="1491" y="530"/>
                    <a:pt x="1491" y="530"/>
                    <a:pt x="1491" y="530"/>
                  </a:cubicBezTo>
                  <a:cubicBezTo>
                    <a:pt x="1454" y="698"/>
                    <a:pt x="1454" y="698"/>
                    <a:pt x="1454" y="698"/>
                  </a:cubicBezTo>
                  <a:cubicBezTo>
                    <a:pt x="1454" y="698"/>
                    <a:pt x="1454" y="698"/>
                    <a:pt x="1454" y="698"/>
                  </a:cubicBezTo>
                  <a:close/>
                  <a:moveTo>
                    <a:pt x="1168" y="417"/>
                  </a:moveTo>
                  <a:cubicBezTo>
                    <a:pt x="1050" y="417"/>
                    <a:pt x="1050" y="417"/>
                    <a:pt x="1050" y="417"/>
                  </a:cubicBezTo>
                  <a:cubicBezTo>
                    <a:pt x="969" y="698"/>
                    <a:pt x="969" y="698"/>
                    <a:pt x="969" y="698"/>
                  </a:cubicBezTo>
                  <a:cubicBezTo>
                    <a:pt x="844" y="698"/>
                    <a:pt x="844" y="698"/>
                    <a:pt x="844" y="698"/>
                  </a:cubicBezTo>
                  <a:cubicBezTo>
                    <a:pt x="908" y="675"/>
                    <a:pt x="947" y="630"/>
                    <a:pt x="959" y="563"/>
                  </a:cubicBezTo>
                  <a:cubicBezTo>
                    <a:pt x="969" y="511"/>
                    <a:pt x="964" y="477"/>
                    <a:pt x="943" y="452"/>
                  </a:cubicBezTo>
                  <a:cubicBezTo>
                    <a:pt x="911" y="413"/>
                    <a:pt x="847" y="416"/>
                    <a:pt x="791" y="416"/>
                  </a:cubicBezTo>
                  <a:cubicBezTo>
                    <a:pt x="781" y="416"/>
                    <a:pt x="697" y="417"/>
                    <a:pt x="697" y="417"/>
                  </a:cubicBezTo>
                  <a:cubicBezTo>
                    <a:pt x="697" y="18"/>
                    <a:pt x="697" y="18"/>
                    <a:pt x="697" y="18"/>
                  </a:cubicBezTo>
                  <a:cubicBezTo>
                    <a:pt x="1168" y="18"/>
                    <a:pt x="1168" y="18"/>
                    <a:pt x="1168" y="18"/>
                  </a:cubicBezTo>
                  <a:cubicBezTo>
                    <a:pt x="1168" y="417"/>
                    <a:pt x="1168" y="417"/>
                    <a:pt x="1168" y="417"/>
                  </a:cubicBezTo>
                  <a:cubicBezTo>
                    <a:pt x="1168" y="417"/>
                    <a:pt x="1168" y="417"/>
                    <a:pt x="1168" y="417"/>
                  </a:cubicBezTo>
                  <a:close/>
                  <a:moveTo>
                    <a:pt x="1093" y="698"/>
                  </a:moveTo>
                  <a:cubicBezTo>
                    <a:pt x="1142" y="522"/>
                    <a:pt x="1142" y="522"/>
                    <a:pt x="1142" y="522"/>
                  </a:cubicBezTo>
                  <a:cubicBezTo>
                    <a:pt x="1144" y="698"/>
                    <a:pt x="1144" y="698"/>
                    <a:pt x="1144" y="698"/>
                  </a:cubicBezTo>
                  <a:cubicBezTo>
                    <a:pt x="1093" y="698"/>
                    <a:pt x="1093" y="698"/>
                    <a:pt x="1093" y="698"/>
                  </a:cubicBezTo>
                  <a:cubicBezTo>
                    <a:pt x="1093" y="698"/>
                    <a:pt x="1093" y="698"/>
                    <a:pt x="1093" y="698"/>
                  </a:cubicBezTo>
                  <a:close/>
                  <a:moveTo>
                    <a:pt x="750" y="631"/>
                  </a:moveTo>
                  <a:cubicBezTo>
                    <a:pt x="749" y="631"/>
                    <a:pt x="749" y="631"/>
                    <a:pt x="749" y="631"/>
                  </a:cubicBezTo>
                  <a:cubicBezTo>
                    <a:pt x="745" y="632"/>
                    <a:pt x="740" y="632"/>
                    <a:pt x="735" y="632"/>
                  </a:cubicBezTo>
                  <a:cubicBezTo>
                    <a:pt x="728" y="632"/>
                    <a:pt x="723" y="632"/>
                    <a:pt x="718" y="632"/>
                  </a:cubicBezTo>
                  <a:cubicBezTo>
                    <a:pt x="687" y="632"/>
                    <a:pt x="687" y="632"/>
                    <a:pt x="687" y="632"/>
                  </a:cubicBezTo>
                  <a:cubicBezTo>
                    <a:pt x="702" y="581"/>
                    <a:pt x="702" y="581"/>
                    <a:pt x="702" y="581"/>
                  </a:cubicBezTo>
                  <a:cubicBezTo>
                    <a:pt x="708" y="555"/>
                    <a:pt x="708" y="555"/>
                    <a:pt x="708" y="555"/>
                  </a:cubicBezTo>
                  <a:cubicBezTo>
                    <a:pt x="724" y="495"/>
                    <a:pt x="724" y="495"/>
                    <a:pt x="724" y="495"/>
                  </a:cubicBezTo>
                  <a:cubicBezTo>
                    <a:pt x="731" y="495"/>
                    <a:pt x="738" y="495"/>
                    <a:pt x="744" y="495"/>
                  </a:cubicBezTo>
                  <a:cubicBezTo>
                    <a:pt x="752" y="494"/>
                    <a:pt x="760" y="494"/>
                    <a:pt x="768" y="494"/>
                  </a:cubicBezTo>
                  <a:cubicBezTo>
                    <a:pt x="808" y="494"/>
                    <a:pt x="833" y="497"/>
                    <a:pt x="842" y="510"/>
                  </a:cubicBezTo>
                  <a:cubicBezTo>
                    <a:pt x="849" y="519"/>
                    <a:pt x="848" y="536"/>
                    <a:pt x="840" y="561"/>
                  </a:cubicBezTo>
                  <a:cubicBezTo>
                    <a:pt x="826" y="605"/>
                    <a:pt x="808" y="627"/>
                    <a:pt x="750" y="631"/>
                  </a:cubicBezTo>
                  <a:moveTo>
                    <a:pt x="619" y="442"/>
                  </a:moveTo>
                  <a:cubicBezTo>
                    <a:pt x="611" y="466"/>
                    <a:pt x="611" y="466"/>
                    <a:pt x="611" y="466"/>
                  </a:cubicBezTo>
                  <a:cubicBezTo>
                    <a:pt x="544" y="690"/>
                    <a:pt x="544" y="690"/>
                    <a:pt x="544" y="690"/>
                  </a:cubicBezTo>
                  <a:cubicBezTo>
                    <a:pt x="541" y="698"/>
                    <a:pt x="541" y="698"/>
                    <a:pt x="541" y="698"/>
                  </a:cubicBezTo>
                  <a:cubicBezTo>
                    <a:pt x="319" y="698"/>
                    <a:pt x="319" y="698"/>
                    <a:pt x="319" y="698"/>
                  </a:cubicBezTo>
                  <a:cubicBezTo>
                    <a:pt x="302" y="662"/>
                    <a:pt x="302" y="662"/>
                    <a:pt x="302" y="662"/>
                  </a:cubicBezTo>
                  <a:cubicBezTo>
                    <a:pt x="541" y="417"/>
                    <a:pt x="541" y="417"/>
                    <a:pt x="541" y="417"/>
                  </a:cubicBezTo>
                  <a:cubicBezTo>
                    <a:pt x="387" y="417"/>
                    <a:pt x="387" y="417"/>
                    <a:pt x="387" y="417"/>
                  </a:cubicBezTo>
                  <a:cubicBezTo>
                    <a:pt x="200" y="619"/>
                    <a:pt x="200" y="619"/>
                    <a:pt x="200" y="619"/>
                  </a:cubicBezTo>
                  <a:cubicBezTo>
                    <a:pt x="261" y="417"/>
                    <a:pt x="261" y="417"/>
                    <a:pt x="261" y="417"/>
                  </a:cubicBezTo>
                  <a:cubicBezTo>
                    <a:pt x="148" y="417"/>
                    <a:pt x="148" y="417"/>
                    <a:pt x="148" y="417"/>
                  </a:cubicBezTo>
                  <a:cubicBezTo>
                    <a:pt x="148" y="18"/>
                    <a:pt x="148" y="18"/>
                    <a:pt x="148" y="18"/>
                  </a:cubicBezTo>
                  <a:cubicBezTo>
                    <a:pt x="619" y="18"/>
                    <a:pt x="619" y="18"/>
                    <a:pt x="619" y="18"/>
                  </a:cubicBezTo>
                  <a:cubicBezTo>
                    <a:pt x="619" y="442"/>
                    <a:pt x="619" y="442"/>
                    <a:pt x="619" y="442"/>
                  </a:cubicBezTo>
                  <a:cubicBezTo>
                    <a:pt x="619" y="442"/>
                    <a:pt x="619" y="442"/>
                    <a:pt x="619" y="442"/>
                  </a:cubicBezTo>
                  <a:close/>
                  <a:moveTo>
                    <a:pt x="177" y="698"/>
                  </a:moveTo>
                  <a:cubicBezTo>
                    <a:pt x="177" y="696"/>
                    <a:pt x="177" y="696"/>
                    <a:pt x="177" y="696"/>
                  </a:cubicBezTo>
                  <a:cubicBezTo>
                    <a:pt x="179" y="698"/>
                    <a:pt x="179" y="698"/>
                    <a:pt x="179" y="698"/>
                  </a:cubicBezTo>
                  <a:cubicBezTo>
                    <a:pt x="177" y="698"/>
                    <a:pt x="177" y="698"/>
                    <a:pt x="177" y="698"/>
                  </a:cubicBezTo>
                  <a:cubicBezTo>
                    <a:pt x="177" y="698"/>
                    <a:pt x="177" y="698"/>
                    <a:pt x="177" y="698"/>
                  </a:cubicBezTo>
                  <a:close/>
                  <a:moveTo>
                    <a:pt x="1778" y="0"/>
                  </a:moveTo>
                  <a:cubicBezTo>
                    <a:pt x="1778" y="458"/>
                    <a:pt x="1778" y="458"/>
                    <a:pt x="1778" y="458"/>
                  </a:cubicBezTo>
                  <a:cubicBezTo>
                    <a:pt x="1762" y="470"/>
                    <a:pt x="1749" y="484"/>
                    <a:pt x="1736" y="498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229" y="0"/>
                    <a:pt x="1229" y="0"/>
                    <a:pt x="1229" y="0"/>
                  </a:cubicBezTo>
                  <a:cubicBezTo>
                    <a:pt x="1229" y="417"/>
                    <a:pt x="1229" y="417"/>
                    <a:pt x="1229" y="417"/>
                  </a:cubicBezTo>
                  <a:cubicBezTo>
                    <a:pt x="1186" y="417"/>
                    <a:pt x="1186" y="417"/>
                    <a:pt x="1186" y="417"/>
                  </a:cubicBezTo>
                  <a:cubicBezTo>
                    <a:pt x="1186" y="0"/>
                    <a:pt x="1186" y="0"/>
                    <a:pt x="1186" y="0"/>
                  </a:cubicBezTo>
                  <a:cubicBezTo>
                    <a:pt x="679" y="0"/>
                    <a:pt x="679" y="0"/>
                    <a:pt x="679" y="0"/>
                  </a:cubicBezTo>
                  <a:cubicBezTo>
                    <a:pt x="679" y="417"/>
                    <a:pt x="679" y="417"/>
                    <a:pt x="679" y="417"/>
                  </a:cubicBezTo>
                  <a:cubicBezTo>
                    <a:pt x="637" y="417"/>
                    <a:pt x="637" y="417"/>
                    <a:pt x="637" y="417"/>
                  </a:cubicBezTo>
                  <a:cubicBezTo>
                    <a:pt x="637" y="0"/>
                    <a:pt x="637" y="0"/>
                    <a:pt x="637" y="0"/>
                  </a:cubicBezTo>
                  <a:cubicBezTo>
                    <a:pt x="129" y="0"/>
                    <a:pt x="129" y="0"/>
                    <a:pt x="129" y="0"/>
                  </a:cubicBezTo>
                  <a:cubicBezTo>
                    <a:pt x="129" y="476"/>
                    <a:pt x="129" y="476"/>
                    <a:pt x="129" y="476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114" y="907"/>
                    <a:pt x="114" y="907"/>
                    <a:pt x="114" y="907"/>
                  </a:cubicBezTo>
                  <a:cubicBezTo>
                    <a:pt x="171" y="716"/>
                    <a:pt x="171" y="716"/>
                    <a:pt x="171" y="716"/>
                  </a:cubicBezTo>
                  <a:cubicBezTo>
                    <a:pt x="188" y="716"/>
                    <a:pt x="188" y="716"/>
                    <a:pt x="188" y="716"/>
                  </a:cubicBezTo>
                  <a:cubicBezTo>
                    <a:pt x="282" y="907"/>
                    <a:pt x="282" y="907"/>
                    <a:pt x="282" y="907"/>
                  </a:cubicBezTo>
                  <a:cubicBezTo>
                    <a:pt x="420" y="907"/>
                    <a:pt x="420" y="907"/>
                    <a:pt x="420" y="907"/>
                  </a:cubicBezTo>
                  <a:cubicBezTo>
                    <a:pt x="328" y="716"/>
                    <a:pt x="328" y="716"/>
                    <a:pt x="328" y="716"/>
                  </a:cubicBezTo>
                  <a:cubicBezTo>
                    <a:pt x="536" y="716"/>
                    <a:pt x="536" y="716"/>
                    <a:pt x="536" y="716"/>
                  </a:cubicBezTo>
                  <a:cubicBezTo>
                    <a:pt x="478" y="907"/>
                    <a:pt x="478" y="907"/>
                    <a:pt x="478" y="907"/>
                  </a:cubicBezTo>
                  <a:cubicBezTo>
                    <a:pt x="602" y="907"/>
                    <a:pt x="602" y="907"/>
                    <a:pt x="602" y="907"/>
                  </a:cubicBezTo>
                  <a:cubicBezTo>
                    <a:pt x="660" y="717"/>
                    <a:pt x="660" y="717"/>
                    <a:pt x="660" y="717"/>
                  </a:cubicBezTo>
                  <a:cubicBezTo>
                    <a:pt x="687" y="717"/>
                    <a:pt x="687" y="717"/>
                    <a:pt x="687" y="717"/>
                  </a:cubicBezTo>
                  <a:cubicBezTo>
                    <a:pt x="687" y="716"/>
                    <a:pt x="687" y="716"/>
                    <a:pt x="687" y="716"/>
                  </a:cubicBezTo>
                  <a:cubicBezTo>
                    <a:pt x="726" y="716"/>
                    <a:pt x="726" y="716"/>
                    <a:pt x="726" y="716"/>
                  </a:cubicBezTo>
                  <a:cubicBezTo>
                    <a:pt x="729" y="716"/>
                    <a:pt x="729" y="716"/>
                    <a:pt x="729" y="716"/>
                  </a:cubicBezTo>
                  <a:cubicBezTo>
                    <a:pt x="964" y="716"/>
                    <a:pt x="964" y="716"/>
                    <a:pt x="964" y="716"/>
                  </a:cubicBezTo>
                  <a:cubicBezTo>
                    <a:pt x="909" y="907"/>
                    <a:pt x="909" y="907"/>
                    <a:pt x="909" y="907"/>
                  </a:cubicBezTo>
                  <a:cubicBezTo>
                    <a:pt x="1035" y="907"/>
                    <a:pt x="1035" y="907"/>
                    <a:pt x="1035" y="907"/>
                  </a:cubicBezTo>
                  <a:cubicBezTo>
                    <a:pt x="1088" y="716"/>
                    <a:pt x="1088" y="716"/>
                    <a:pt x="1088" y="716"/>
                  </a:cubicBezTo>
                  <a:cubicBezTo>
                    <a:pt x="1144" y="716"/>
                    <a:pt x="1144" y="716"/>
                    <a:pt x="1144" y="716"/>
                  </a:cubicBezTo>
                  <a:cubicBezTo>
                    <a:pt x="1146" y="907"/>
                    <a:pt x="1146" y="907"/>
                    <a:pt x="1146" y="907"/>
                  </a:cubicBezTo>
                  <a:cubicBezTo>
                    <a:pt x="1251" y="907"/>
                    <a:pt x="1251" y="907"/>
                    <a:pt x="1251" y="907"/>
                  </a:cubicBezTo>
                  <a:cubicBezTo>
                    <a:pt x="1372" y="716"/>
                    <a:pt x="1372" y="716"/>
                    <a:pt x="1372" y="716"/>
                  </a:cubicBezTo>
                  <a:cubicBezTo>
                    <a:pt x="1451" y="716"/>
                    <a:pt x="1451" y="716"/>
                    <a:pt x="1451" y="716"/>
                  </a:cubicBezTo>
                  <a:cubicBezTo>
                    <a:pt x="1410" y="907"/>
                    <a:pt x="1410" y="907"/>
                    <a:pt x="1410" y="907"/>
                  </a:cubicBezTo>
                  <a:cubicBezTo>
                    <a:pt x="1534" y="907"/>
                    <a:pt x="1534" y="907"/>
                    <a:pt x="1534" y="907"/>
                  </a:cubicBezTo>
                  <a:cubicBezTo>
                    <a:pt x="1574" y="716"/>
                    <a:pt x="1574" y="716"/>
                    <a:pt x="1574" y="716"/>
                  </a:cubicBezTo>
                  <a:cubicBezTo>
                    <a:pt x="1645" y="716"/>
                    <a:pt x="1645" y="716"/>
                    <a:pt x="1645" y="716"/>
                  </a:cubicBezTo>
                  <a:cubicBezTo>
                    <a:pt x="1642" y="775"/>
                    <a:pt x="1657" y="829"/>
                    <a:pt x="1697" y="865"/>
                  </a:cubicBezTo>
                  <a:cubicBezTo>
                    <a:pt x="1744" y="909"/>
                    <a:pt x="1818" y="917"/>
                    <a:pt x="1872" y="917"/>
                  </a:cubicBezTo>
                  <a:cubicBezTo>
                    <a:pt x="1947" y="917"/>
                    <a:pt x="2024" y="907"/>
                    <a:pt x="2102" y="889"/>
                  </a:cubicBezTo>
                  <a:cubicBezTo>
                    <a:pt x="2145" y="716"/>
                    <a:pt x="2145" y="716"/>
                    <a:pt x="2145" y="716"/>
                  </a:cubicBezTo>
                  <a:cubicBezTo>
                    <a:pt x="2285" y="716"/>
                    <a:pt x="2285" y="716"/>
                    <a:pt x="2285" y="716"/>
                  </a:cubicBezTo>
                  <a:cubicBezTo>
                    <a:pt x="2285" y="0"/>
                    <a:pt x="2285" y="0"/>
                    <a:pt x="2285" y="0"/>
                  </a:cubicBezTo>
                  <a:cubicBezTo>
                    <a:pt x="1778" y="0"/>
                    <a:pt x="1778" y="0"/>
                    <a:pt x="1778" y="0"/>
                  </a:cubicBezTo>
                  <a:cubicBezTo>
                    <a:pt x="1778" y="0"/>
                    <a:pt x="1778" y="0"/>
                    <a:pt x="1778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gray">
            <a:xfrm>
              <a:off x="68" y="0"/>
              <a:ext cx="793" cy="585"/>
            </a:xfrm>
            <a:custGeom>
              <a:avLst/>
              <a:gdLst>
                <a:gd name="T0" fmla="*/ 231 w 1447"/>
                <a:gd name="T1" fmla="*/ 327 h 1068"/>
                <a:gd name="T2" fmla="*/ 0 w 1447"/>
                <a:gd name="T3" fmla="*/ 327 h 1068"/>
                <a:gd name="T4" fmla="*/ 0 w 1447"/>
                <a:gd name="T5" fmla="*/ 0 h 1068"/>
                <a:gd name="T6" fmla="*/ 231 w 1447"/>
                <a:gd name="T7" fmla="*/ 0 h 1068"/>
                <a:gd name="T8" fmla="*/ 231 w 1447"/>
                <a:gd name="T9" fmla="*/ 327 h 1068"/>
                <a:gd name="T10" fmla="*/ 1447 w 1447"/>
                <a:gd name="T11" fmla="*/ 0 h 1068"/>
                <a:gd name="T12" fmla="*/ 1215 w 1447"/>
                <a:gd name="T13" fmla="*/ 0 h 1068"/>
                <a:gd name="T14" fmla="*/ 1215 w 1447"/>
                <a:gd name="T15" fmla="*/ 327 h 1068"/>
                <a:gd name="T16" fmla="*/ 1447 w 1447"/>
                <a:gd name="T17" fmla="*/ 327 h 1068"/>
                <a:gd name="T18" fmla="*/ 1447 w 1447"/>
                <a:gd name="T19" fmla="*/ 0 h 1068"/>
                <a:gd name="T20" fmla="*/ 231 w 1447"/>
                <a:gd name="T21" fmla="*/ 741 h 1068"/>
                <a:gd name="T22" fmla="*/ 0 w 1447"/>
                <a:gd name="T23" fmla="*/ 741 h 1068"/>
                <a:gd name="T24" fmla="*/ 0 w 1447"/>
                <a:gd name="T25" fmla="*/ 1068 h 1068"/>
                <a:gd name="T26" fmla="*/ 231 w 1447"/>
                <a:gd name="T27" fmla="*/ 1068 h 1068"/>
                <a:gd name="T28" fmla="*/ 231 w 1447"/>
                <a:gd name="T29" fmla="*/ 741 h 1068"/>
                <a:gd name="T30" fmla="*/ 1447 w 1447"/>
                <a:gd name="T31" fmla="*/ 741 h 1068"/>
                <a:gd name="T32" fmla="*/ 1215 w 1447"/>
                <a:gd name="T33" fmla="*/ 741 h 1068"/>
                <a:gd name="T34" fmla="*/ 1215 w 1447"/>
                <a:gd name="T35" fmla="*/ 1068 h 1068"/>
                <a:gd name="T36" fmla="*/ 1447 w 1447"/>
                <a:gd name="T37" fmla="*/ 1068 h 1068"/>
                <a:gd name="T38" fmla="*/ 1447 w 1447"/>
                <a:gd name="T39" fmla="*/ 741 h 106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7"/>
                <a:gd name="T61" fmla="*/ 0 h 1068"/>
                <a:gd name="T62" fmla="*/ 1447 w 1447"/>
                <a:gd name="T63" fmla="*/ 1068 h 106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7" h="1068">
                  <a:moveTo>
                    <a:pt x="231" y="327"/>
                  </a:moveTo>
                  <a:lnTo>
                    <a:pt x="0" y="327"/>
                  </a:lnTo>
                  <a:lnTo>
                    <a:pt x="0" y="0"/>
                  </a:lnTo>
                  <a:lnTo>
                    <a:pt x="231" y="0"/>
                  </a:lnTo>
                  <a:lnTo>
                    <a:pt x="231" y="327"/>
                  </a:lnTo>
                  <a:close/>
                  <a:moveTo>
                    <a:pt x="1447" y="0"/>
                  </a:moveTo>
                  <a:lnTo>
                    <a:pt x="1215" y="0"/>
                  </a:lnTo>
                  <a:lnTo>
                    <a:pt x="1215" y="327"/>
                  </a:lnTo>
                  <a:lnTo>
                    <a:pt x="1447" y="327"/>
                  </a:lnTo>
                  <a:lnTo>
                    <a:pt x="1447" y="0"/>
                  </a:lnTo>
                  <a:close/>
                  <a:moveTo>
                    <a:pt x="231" y="741"/>
                  </a:moveTo>
                  <a:lnTo>
                    <a:pt x="0" y="741"/>
                  </a:lnTo>
                  <a:lnTo>
                    <a:pt x="0" y="1068"/>
                  </a:lnTo>
                  <a:lnTo>
                    <a:pt x="231" y="1068"/>
                  </a:lnTo>
                  <a:lnTo>
                    <a:pt x="231" y="741"/>
                  </a:lnTo>
                  <a:close/>
                  <a:moveTo>
                    <a:pt x="1447" y="741"/>
                  </a:moveTo>
                  <a:lnTo>
                    <a:pt x="1215" y="741"/>
                  </a:lnTo>
                  <a:lnTo>
                    <a:pt x="1215" y="1068"/>
                  </a:lnTo>
                  <a:lnTo>
                    <a:pt x="1447" y="1068"/>
                  </a:lnTo>
                  <a:lnTo>
                    <a:pt x="1447" y="741"/>
                  </a:lnTo>
                  <a:close/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Slide Number Placeholder"/>
          <p:cNvSpPr txBox="1">
            <a:spLocks/>
          </p:cNvSpPr>
          <p:nvPr userDrawn="1"/>
        </p:nvSpPr>
        <p:spPr>
          <a:xfrm>
            <a:off x="9130600" y="6381332"/>
            <a:ext cx="502919" cy="2808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72000" tIns="72000" rIns="0" bIns="0" numCol="1" anchor="t" anchorCtr="0" compatLnSpc="1">
            <a:prstTxWarp prst="textNoShape">
              <a:avLst/>
            </a:prstTxWarp>
          </a:bodyPr>
          <a:lstStyle>
            <a:lvl1pPr marL="0" algn="r" defTabSz="914400" rtl="0" eaLnBrk="1" fontAlgn="base" latinLnBrk="0" hangingPunct="1">
              <a:spcBef>
                <a:spcPct val="40000"/>
              </a:spcBef>
              <a:spcAft>
                <a:spcPct val="0"/>
              </a:spcAft>
              <a:defRPr lang="ru-RU" sz="900" kern="1200" noProof="0" smtClean="0">
                <a:solidFill>
                  <a:srgbClr val="00338D"/>
                </a:solidFill>
                <a:latin typeface="Arial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7A436B38-8FAA-414D-8FED-272C24EA339C}" type="slidenum">
              <a:rPr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bgs_textbox_copyright"/>
          <p:cNvSpPr txBox="1">
            <a:spLocks/>
          </p:cNvSpPr>
          <p:nvPr userDrawn="1">
            <p:custDataLst>
              <p:tags r:id="rId37"/>
            </p:custDataLst>
          </p:nvPr>
        </p:nvSpPr>
        <p:spPr>
          <a:xfrm>
            <a:off x="273050" y="6388100"/>
            <a:ext cx="67310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72000" rIns="0" bIns="0">
            <a:noAutofit/>
          </a:bodyPr>
          <a:lstStyle>
            <a:lvl1pPr marL="0" algn="l" defTabSz="914400" rtl="0" eaLnBrk="1" latinLnBrk="0" hangingPunct="1">
              <a:spcBef>
                <a:spcPct val="40000"/>
              </a:spcBef>
              <a:defRPr lang="ru-RU" sz="600" kern="1200" dirty="0">
                <a:solidFill>
                  <a:srgbClr val="00338D"/>
                </a:solidFill>
                <a:latin typeface="Arial"/>
                <a:ea typeface="+mn-ea"/>
                <a:cs typeface="+mn-cs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dirty="0" smtClean="0"/>
              <a:t>© 2016 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International Cooperative (“KPMG International”), зарегистрированную по законодательству Швейцарии. Все права защищены. Напечатано в России.</a:t>
            </a:r>
            <a:endParaRPr lang="en-US" dirty="0"/>
          </a:p>
        </p:txBody>
      </p:sp>
      <p:sp>
        <p:nvSpPr>
          <p:cNvPr id="15" name="bgs_textbox_filepath" hidden="1"/>
          <p:cNvSpPr>
            <a:spLocks noChangeArrowheads="1"/>
          </p:cNvSpPr>
          <p:nvPr userDrawn="1">
            <p:custDataLst>
              <p:tags r:id="rId38"/>
            </p:custDataLst>
          </p:nvPr>
        </p:nvSpPr>
        <p:spPr bwMode="gray">
          <a:xfrm>
            <a:off x="2288703" y="6093296"/>
            <a:ext cx="7344247" cy="128685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</p:spPr>
        <p:txBody>
          <a:bodyPr wrap="square" lIns="0" tIns="36000" rIns="0" bIns="0">
            <a:spAutoFit/>
          </a:bodyPr>
          <a:lstStyle/>
          <a:p>
            <a:pPr algn="r"/>
            <a:r>
              <a:rPr lang="en-US" sz="600" dirty="0" smtClean="0">
                <a:solidFill>
                  <a:srgbClr val="FF0000"/>
                </a:solidFill>
              </a:rPr>
              <a:t>[file path]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88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  <p:sldLayoutId id="2147484065" r:id="rId25"/>
    <p:sldLayoutId id="2147484066" r:id="rId26"/>
    <p:sldLayoutId id="2147484067" r:id="rId27"/>
    <p:sldLayoutId id="2147484068" r:id="rId28"/>
    <p:sldLayoutId id="2147484069" r:id="rId29"/>
    <p:sldLayoutId id="2147484070" r:id="rId30"/>
    <p:sldLayoutId id="2147484071" r:id="rId31"/>
    <p:sldLayoutId id="2147484072" r:id="rId32"/>
    <p:sldLayoutId id="2147484073" r:id="rId33"/>
  </p:sldLayoutIdLst>
  <p:txStyles>
    <p:titleStyle>
      <a:lvl1pPr algn="l" defTabSz="914400" rtl="0" eaLnBrk="1" latinLnBrk="0" hangingPunct="1">
        <a:spcBef>
          <a:spcPct val="0"/>
        </a:spcBef>
        <a:buNone/>
        <a:defRPr lang="en-US" sz="1600" b="1" kern="1200" baseline="0" noProof="0" dirty="0" smtClean="0">
          <a:solidFill>
            <a:srgbClr val="00338D"/>
          </a:solidFill>
          <a:latin typeface="Arial"/>
          <a:ea typeface="+mj-ea"/>
          <a:cs typeface="Arial" pitchFamily="34" charset="0"/>
        </a:defRPr>
      </a:lvl1pPr>
      <a:lvl2pPr eaLnBrk="1" hangingPunct="1">
        <a:defRPr sz="1600" b="1">
          <a:solidFill>
            <a:srgbClr val="00338D"/>
          </a:solidFill>
          <a:latin typeface="+mj-lt"/>
        </a:defRPr>
      </a:lvl2pPr>
      <a:lvl3pPr eaLnBrk="1" hangingPunct="1">
        <a:defRPr sz="1600" b="1">
          <a:solidFill>
            <a:srgbClr val="00338D"/>
          </a:solidFill>
          <a:latin typeface="+mj-lt"/>
        </a:defRPr>
      </a:lvl3pPr>
      <a:lvl4pPr eaLnBrk="1" hangingPunct="1">
        <a:defRPr sz="1600" b="1">
          <a:solidFill>
            <a:srgbClr val="00338D"/>
          </a:solidFill>
          <a:latin typeface="+mj-lt"/>
        </a:defRPr>
      </a:lvl4pPr>
      <a:lvl5pPr eaLnBrk="1" hangingPunct="1">
        <a:defRPr sz="1600" b="1">
          <a:solidFill>
            <a:srgbClr val="00338D"/>
          </a:solidFill>
          <a:latin typeface="+mj-lt"/>
        </a:defRPr>
      </a:lvl5pPr>
      <a:lvl6pPr eaLnBrk="1" hangingPunct="1">
        <a:defRPr sz="1600" b="1">
          <a:solidFill>
            <a:srgbClr val="00338D"/>
          </a:solidFill>
          <a:latin typeface="+mj-lt"/>
        </a:defRPr>
      </a:lvl6pPr>
      <a:lvl7pPr eaLnBrk="1" hangingPunct="1">
        <a:defRPr sz="1600" b="1">
          <a:solidFill>
            <a:srgbClr val="00338D"/>
          </a:solidFill>
          <a:latin typeface="+mj-lt"/>
        </a:defRPr>
      </a:lvl7pPr>
      <a:lvl8pPr eaLnBrk="1" hangingPunct="1">
        <a:defRPr sz="1600" b="1">
          <a:solidFill>
            <a:srgbClr val="00338D"/>
          </a:solidFill>
          <a:latin typeface="+mj-lt"/>
        </a:defRPr>
      </a:lvl8pPr>
      <a:lvl9pPr eaLnBrk="1" hangingPunct="1">
        <a:defRPr sz="1600" b="1">
          <a:solidFill>
            <a:srgbClr val="00338D"/>
          </a:solidFill>
          <a:latin typeface="+mj-lt"/>
        </a:defRPr>
      </a:lvl9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lang="en-US" sz="900" b="1" kern="1200" noProof="0" dirty="0" smtClean="0">
          <a:solidFill>
            <a:srgbClr val="00338D"/>
          </a:solidFill>
          <a:latin typeface="Arial"/>
          <a:ea typeface="+mn-ea"/>
          <a:cs typeface="Arial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lang="en-US" sz="9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2pPr>
      <a:lvl3pPr marL="177800" indent="-177800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3pPr>
      <a:lvl4pPr marL="355600" indent="-177800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b="0" kern="120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4pPr>
      <a:lvl5pPr marL="534988" indent="-174625" algn="l" defTabSz="914400" rtl="0" eaLnBrk="1" latinLnBrk="0" hangingPunct="1">
        <a:lnSpc>
          <a:spcPct val="10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b="0" kern="1200" baseline="0" noProof="0" dirty="0" smtClean="0">
          <a:solidFill>
            <a:schemeClr val="tx1"/>
          </a:solidFill>
          <a:latin typeface="Arial"/>
          <a:ea typeface="+mn-ea"/>
          <a:cs typeface="Arial" pitchFamily="34" charset="0"/>
        </a:defRPr>
      </a:lvl5pPr>
      <a:lvl6pPr marL="720725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895350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1081088" indent="-185738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–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+mn-cs"/>
        </a:defRPr>
      </a:lvl8pPr>
      <a:lvl9pPr marL="1255713" indent="-174625" algn="l" defTabSz="914400" rtl="0" eaLnBrk="1" latinLnBrk="0" hangingPunct="1">
        <a:lnSpc>
          <a:spcPct val="110000"/>
        </a:lnSpc>
        <a:spcBef>
          <a:spcPts val="600"/>
        </a:spcBef>
        <a:buClr>
          <a:srgbClr val="97989A"/>
        </a:buClr>
        <a:buFont typeface="Arial" pitchFamily="34" charset="0"/>
        <a:buChar char="■"/>
        <a:defRPr lang="en-US" sz="900" kern="1200" baseline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20725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895350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081088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255713" algn="l" defTabSz="914400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3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50.pn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30.xml"/><Relationship Id="rId7" Type="http://schemas.openxmlformats.org/officeDocument/2006/relationships/chart" Target="../charts/chart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44.xml"/><Relationship Id="rId4" Type="http://schemas.openxmlformats.org/officeDocument/2006/relationships/tags" Target="../tags/tag31.xml"/><Relationship Id="rId9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490" y="4354514"/>
            <a:ext cx="3384550" cy="107950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ru-RU" b="1" dirty="0" smtClean="0">
              <a:solidFill>
                <a:schemeClr val="bg1"/>
              </a:solidFill>
            </a:endParaRPr>
          </a:p>
          <a:p>
            <a:endParaRPr lang="ru-RU" b="1" dirty="0"/>
          </a:p>
          <a:p>
            <a:r>
              <a:rPr lang="ru-RU" b="1" dirty="0" smtClean="0"/>
              <a:t>19 апреля </a:t>
            </a:r>
            <a:r>
              <a:rPr lang="en-US" b="1" dirty="0" smtClean="0">
                <a:solidFill>
                  <a:schemeClr val="bg1"/>
                </a:solidFill>
              </a:rPr>
              <a:t>201</a:t>
            </a:r>
            <a:r>
              <a:rPr lang="ru-RU" b="1" dirty="0" smtClean="0">
                <a:solidFill>
                  <a:schemeClr val="bg1"/>
                </a:solidFill>
              </a:rPr>
              <a:t>6 г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4488" y="1844824"/>
            <a:ext cx="3312368" cy="1943892"/>
          </a:xfrm>
        </p:spPr>
        <p:txBody>
          <a:bodyPr/>
          <a:lstStyle/>
          <a:p>
            <a:r>
              <a:rPr lang="ru-RU" dirty="0" smtClean="0"/>
              <a:t>Инновационные </a:t>
            </a:r>
            <a:br>
              <a:rPr lang="ru-RU" dirty="0" smtClean="0"/>
            </a:br>
            <a:r>
              <a:rPr lang="ru-RU" dirty="0" smtClean="0"/>
              <a:t>казначейские </a:t>
            </a:r>
            <a:r>
              <a:rPr lang="ru-RU" dirty="0" smtClean="0"/>
              <a:t>инструменты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78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 rot="10800000">
            <a:off x="145166" y="1484783"/>
            <a:ext cx="4752528" cy="3506603"/>
          </a:xfrm>
          <a:prstGeom prst="roundRect">
            <a:avLst>
              <a:gd name="adj" fmla="val 684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lt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 rot="10800000">
            <a:off x="5025008" y="1484785"/>
            <a:ext cx="4752528" cy="3506602"/>
          </a:xfrm>
          <a:prstGeom prst="roundRect">
            <a:avLst>
              <a:gd name="adj" fmla="val 6844"/>
            </a:avLst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>
              <a:solidFill>
                <a:schemeClr val="lt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3080620" y="1700799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2</a:t>
            </a:r>
            <a:endParaRPr lang="en-US" sz="1400" b="1" dirty="0"/>
          </a:p>
        </p:txBody>
      </p:sp>
      <p:sp>
        <p:nvSpPr>
          <p:cNvPr id="9" name="Oval 8"/>
          <p:cNvSpPr/>
          <p:nvPr/>
        </p:nvSpPr>
        <p:spPr>
          <a:xfrm>
            <a:off x="817920" y="1700799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1</a:t>
            </a:r>
            <a:endParaRPr lang="en-US" sz="1400" b="1" dirty="0"/>
          </a:p>
        </p:txBody>
      </p:sp>
      <p:sp>
        <p:nvSpPr>
          <p:cNvPr id="10" name="Oval 9"/>
          <p:cNvSpPr/>
          <p:nvPr/>
        </p:nvSpPr>
        <p:spPr>
          <a:xfrm>
            <a:off x="835769" y="3587411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3</a:t>
            </a:r>
            <a:endParaRPr lang="en-US" sz="1400" b="1" dirty="0"/>
          </a:p>
        </p:txBody>
      </p:sp>
      <p:sp>
        <p:nvSpPr>
          <p:cNvPr id="11" name="Oval 10"/>
          <p:cNvSpPr/>
          <p:nvPr/>
        </p:nvSpPr>
        <p:spPr>
          <a:xfrm>
            <a:off x="3080620" y="3587411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4</a:t>
            </a:r>
            <a:endParaRPr lang="en-US" sz="1400" b="1" dirty="0"/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2576737" y="3976253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 flipH="1">
            <a:off x="2576737" y="2089641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1784735" y="3976253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784735" y="2089641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rot="5400000">
            <a:off x="1028780" y="260085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rot="5400000">
            <a:off x="3309736" y="260085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rot="16200000" flipV="1">
            <a:off x="1028780" y="346503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rot="16200000" flipV="1">
            <a:off x="3309736" y="346503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rot="1800000" flipH="1">
            <a:off x="2749183" y="355502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rot="19800000" flipH="1" flipV="1">
            <a:off x="2749183" y="251086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rot="19800000">
            <a:off x="1597398" y="355502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rot="1800000" flipV="1">
            <a:off x="1597398" y="251086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709309" y="1772807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5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709309" y="4001175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3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941987" y="4003615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5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28664" y="1768928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0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09588" y="2522772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2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12531" y="3248792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6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74602" y="2522772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8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659848" y="3248792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2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830101" y="219377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0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51108" y="3270120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8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705863" y="221807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2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86004" y="3264816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5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848886" y="2616744"/>
            <a:ext cx="1063256" cy="812188"/>
          </a:xfrm>
          <a:prstGeom prst="roundRect">
            <a:avLst/>
          </a:prstGeom>
          <a:solidFill>
            <a:srgbClr val="AA5CAA"/>
          </a:solidFill>
          <a:ln w="19050">
            <a:solidFill>
              <a:srgbClr val="8E2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/>
              <a:t>Неттинговый центр</a:t>
            </a:r>
            <a:endParaRPr lang="en-US" sz="1000" b="1" dirty="0"/>
          </a:p>
        </p:txBody>
      </p:sp>
      <p:sp>
        <p:nvSpPr>
          <p:cNvPr id="37" name="Text Placeholder 10"/>
          <p:cNvSpPr>
            <a:spLocks noGrp="1"/>
          </p:cNvSpPr>
          <p:nvPr/>
        </p:nvSpPr>
        <p:spPr>
          <a:xfrm>
            <a:off x="235960" y="1700800"/>
            <a:ext cx="507329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84406" tIns="72000" rIns="49846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220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u="sng" dirty="0">
                <a:solidFill>
                  <a:srgbClr val="000000"/>
                </a:solidFill>
              </a:rPr>
              <a:t>+ 160</a:t>
            </a:r>
          </a:p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 60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8" name="Text Placeholder 10"/>
          <p:cNvSpPr>
            <a:spLocks noGrp="1"/>
          </p:cNvSpPr>
          <p:nvPr/>
        </p:nvSpPr>
        <p:spPr>
          <a:xfrm>
            <a:off x="4243897" y="1700800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84406" tIns="72000" rIns="49846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150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u="sng" dirty="0">
                <a:solidFill>
                  <a:srgbClr val="000000"/>
                </a:solidFill>
              </a:rPr>
              <a:t>+ 200</a:t>
            </a:r>
          </a:p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+  50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9" name="Text Placeholder 10"/>
          <p:cNvSpPr>
            <a:spLocks noGrp="1"/>
          </p:cNvSpPr>
          <p:nvPr/>
        </p:nvSpPr>
        <p:spPr>
          <a:xfrm>
            <a:off x="4243897" y="3587412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84406" tIns="72000" rIns="49846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100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u="sng" dirty="0">
                <a:solidFill>
                  <a:srgbClr val="000000"/>
                </a:solidFill>
              </a:rPr>
              <a:t>+ 230</a:t>
            </a:r>
          </a:p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+ 130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0" name="Text Placeholder 10"/>
          <p:cNvSpPr>
            <a:spLocks noGrp="1"/>
          </p:cNvSpPr>
          <p:nvPr/>
        </p:nvSpPr>
        <p:spPr>
          <a:xfrm>
            <a:off x="237102" y="3584489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84406" tIns="72000" rIns="49846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190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u="sng" dirty="0">
                <a:solidFill>
                  <a:srgbClr val="000000"/>
                </a:solidFill>
              </a:rPr>
              <a:t>+  70</a:t>
            </a:r>
          </a:p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100" dirty="0">
                <a:solidFill>
                  <a:srgbClr val="000000"/>
                </a:solidFill>
              </a:rPr>
              <a:t>- 120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8239270" y="1700799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2</a:t>
            </a:r>
            <a:endParaRPr lang="en-US" sz="1400" b="1" dirty="0"/>
          </a:p>
        </p:txBody>
      </p:sp>
      <p:sp>
        <p:nvSpPr>
          <p:cNvPr id="42" name="Oval 41"/>
          <p:cNvSpPr/>
          <p:nvPr/>
        </p:nvSpPr>
        <p:spPr>
          <a:xfrm>
            <a:off x="5457057" y="1700799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1</a:t>
            </a:r>
            <a:endParaRPr lang="en-US" sz="1400" b="1" dirty="0"/>
          </a:p>
        </p:txBody>
      </p:sp>
      <p:sp>
        <p:nvSpPr>
          <p:cNvPr id="43" name="Oval 42"/>
          <p:cNvSpPr/>
          <p:nvPr/>
        </p:nvSpPr>
        <p:spPr>
          <a:xfrm>
            <a:off x="5474906" y="3587411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3</a:t>
            </a:r>
            <a:endParaRPr lang="en-US" sz="1400" b="1" dirty="0"/>
          </a:p>
        </p:txBody>
      </p:sp>
      <p:sp>
        <p:nvSpPr>
          <p:cNvPr id="44" name="Oval 43"/>
          <p:cNvSpPr/>
          <p:nvPr/>
        </p:nvSpPr>
        <p:spPr>
          <a:xfrm>
            <a:off x="8239270" y="3587411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400" b="1" dirty="0"/>
              <a:t>ДО 4</a:t>
            </a:r>
            <a:endParaRPr lang="en-US" sz="1400" b="1" dirty="0"/>
          </a:p>
        </p:txBody>
      </p:sp>
      <p:cxnSp>
        <p:nvCxnSpPr>
          <p:cNvPr id="45" name="Straight Arrow Connector 44"/>
          <p:cNvCxnSpPr/>
          <p:nvPr/>
        </p:nvCxnSpPr>
        <p:spPr>
          <a:xfrm rot="1800000" flipV="1">
            <a:off x="7869464" y="3555026"/>
            <a:ext cx="535525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rot="19800000">
            <a:off x="7869464" y="2510868"/>
            <a:ext cx="535525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rot="19800000">
            <a:off x="6236536" y="355502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/>
          <p:nvPr/>
        </p:nvCxnSpPr>
        <p:spPr>
          <a:xfrm rot="1800000" flipV="1">
            <a:off x="6236536" y="251086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6469238" y="219377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190245" y="3270120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2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864512" y="221807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144653" y="3264816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13</a:t>
            </a: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19550" y="4559339"/>
            <a:ext cx="3770342" cy="432048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платежей = 12</a:t>
            </a:r>
          </a:p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Необходимая ликвидность = 66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549214" y="4559339"/>
            <a:ext cx="3770342" cy="432048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Количество платежей = 4</a:t>
            </a:r>
          </a:p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Необходимая ликвидность = 180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>
                <a:solidFill>
                  <a:schemeClr val="bg1"/>
                </a:solidFill>
                <a:latin typeface="+mj-lt"/>
              </a:rPr>
              <a:t>Многосторонний неттинг</a:t>
            </a:r>
            <a:endParaRPr lang="en-US" sz="148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166" y="1052728"/>
            <a:ext cx="4752528" cy="374914"/>
          </a:xfrm>
          <a:prstGeom prst="rect">
            <a:avLst/>
          </a:prstGeom>
          <a:solidFill>
            <a:srgbClr val="00338D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marL="130876" defTabSz="486978" eaLnBrk="0" hangingPunct="0">
              <a:lnSpc>
                <a:spcPct val="90000"/>
              </a:lnSpc>
              <a:spcBef>
                <a:spcPct val="50000"/>
              </a:spcBef>
            </a:pPr>
            <a:r>
              <a:rPr lang="ru-RU" sz="1200" b="1" dirty="0">
                <a:solidFill>
                  <a:schemeClr val="bg1"/>
                </a:solidFill>
                <a:cs typeface="Calibri" panose="020F0502020204030204" pitchFamily="34" charset="0"/>
              </a:rPr>
              <a:t>Денежные потоки компании без использования неттинга</a:t>
            </a:r>
          </a:p>
        </p:txBody>
      </p:sp>
      <p:sp>
        <p:nvSpPr>
          <p:cNvPr id="59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25008" y="1052727"/>
            <a:ext cx="4752528" cy="374914"/>
          </a:xfrm>
          <a:prstGeom prst="rect">
            <a:avLst/>
          </a:prstGeom>
          <a:solidFill>
            <a:srgbClr val="7AB8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Денежные потоки компании с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использованием неттинга</a:t>
            </a:r>
          </a:p>
        </p:txBody>
      </p:sp>
      <p:sp>
        <p:nvSpPr>
          <p:cNvPr id="57" name="Rounded Rectangle 56"/>
          <p:cNvSpPr/>
          <p:nvPr/>
        </p:nvSpPr>
        <p:spPr>
          <a:xfrm>
            <a:off x="138392" y="5027657"/>
            <a:ext cx="9639144" cy="1309140"/>
          </a:xfrm>
          <a:prstGeom prst="roundRect">
            <a:avLst/>
          </a:prstGeom>
          <a:gradFill>
            <a:gsLst>
              <a:gs pos="8000">
                <a:srgbClr val="00257A"/>
              </a:gs>
              <a:gs pos="35000">
                <a:srgbClr val="00338D"/>
              </a:gs>
              <a:gs pos="100000">
                <a:srgbClr val="009FDA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171450" indent="-171450" algn="ctr">
              <a:buSzPct val="150000"/>
              <a:buFont typeface="Wingdings" panose="05000000000000000000" pitchFamily="2" charset="2"/>
              <a:buChar char="ü"/>
            </a:pPr>
            <a:endParaRPr lang="ru-RU" sz="1200" b="1" dirty="0"/>
          </a:p>
        </p:txBody>
      </p:sp>
      <p:sp>
        <p:nvSpPr>
          <p:cNvPr id="60" name="Text Placeholder 2"/>
          <p:cNvSpPr txBox="1">
            <a:spLocks/>
          </p:cNvSpPr>
          <p:nvPr/>
        </p:nvSpPr>
        <p:spPr>
          <a:xfrm>
            <a:off x="233855" y="5013176"/>
            <a:ext cx="9615689" cy="1576169"/>
          </a:xfrm>
          <a:prstGeom prst="rect">
            <a:avLst/>
          </a:prstGeom>
        </p:spPr>
        <p:txBody>
          <a:bodyPr/>
          <a:lstStyle>
            <a:lvl1pPr marL="0" indent="0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Font typeface="Arial" pitchFamily="34" charset="0"/>
              <a:buNone/>
              <a:defRPr lang="en-US" sz="975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Font typeface="Arial" pitchFamily="34" charset="0"/>
              <a:buNone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92616" indent="-19261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85231" indent="-19261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79568" indent="-18917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80781" indent="-201215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GB" sz="975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69958" indent="-189176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171172" indent="-201215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360348" indent="-189176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 defTabSz="914400"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</a:pPr>
            <a:r>
              <a:rPr lang="ru-RU" sz="1400" dirty="0">
                <a:solidFill>
                  <a:schemeClr val="bg1"/>
                </a:solidFill>
                <a:cs typeface="+mn-cs"/>
              </a:rPr>
              <a:t>Преимущества многостороннего неттинга</a:t>
            </a:r>
          </a:p>
          <a:p>
            <a:pPr marL="228600" lvl="0" indent="-228600" defTabSz="914400">
              <a:spcBef>
                <a:spcPts val="0"/>
              </a:spcBef>
              <a:spcAft>
                <a:spcPts val="500"/>
              </a:spcAft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>
                <a:solidFill>
                  <a:schemeClr val="bg1"/>
                </a:solidFill>
                <a:cs typeface="+mn-cs"/>
              </a:rPr>
              <a:t>Снижение уровня избыточной ликвидности в Группе компаний</a:t>
            </a:r>
          </a:p>
          <a:p>
            <a:pPr marL="228600" lvl="0" indent="-228600" defTabSz="914400">
              <a:spcBef>
                <a:spcPts val="0"/>
              </a:spcBef>
              <a:spcAft>
                <a:spcPts val="500"/>
              </a:spcAft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>
                <a:solidFill>
                  <a:schemeClr val="bg1"/>
                </a:solidFill>
                <a:cs typeface="+mn-cs"/>
              </a:rPr>
              <a:t>Увеличение среднего срока размещения денежных средств в Группе компаний</a:t>
            </a:r>
          </a:p>
          <a:p>
            <a:pPr marL="228600" lvl="0" indent="-228600" defTabSz="914400">
              <a:spcBef>
                <a:spcPts val="0"/>
              </a:spcBef>
              <a:spcAft>
                <a:spcPts val="500"/>
              </a:spcAft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>
                <a:solidFill>
                  <a:schemeClr val="bg1"/>
                </a:solidFill>
                <a:cs typeface="+mn-cs"/>
              </a:rPr>
              <a:t>Сокращение операционных затрат на проведение платежей</a:t>
            </a:r>
          </a:p>
          <a:p>
            <a:pPr marL="228600" lvl="0" indent="-228600" defTabSz="914400">
              <a:spcBef>
                <a:spcPts val="0"/>
              </a:spcBef>
              <a:spcAft>
                <a:spcPts val="500"/>
              </a:spcAft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>
                <a:solidFill>
                  <a:schemeClr val="bg1"/>
                </a:solidFill>
                <a:cs typeface="+mn-cs"/>
              </a:rPr>
              <a:t>Ускорение процесса доведения платежа до конечного контрагента</a:t>
            </a:r>
          </a:p>
        </p:txBody>
      </p:sp>
    </p:spTree>
    <p:extLst>
      <p:ext uri="{BB962C8B-B14F-4D97-AF65-F5344CB8AC3E}">
        <p14:creationId xmlns:p14="http://schemas.microsoft.com/office/powerpoint/2010/main" val="4046002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dirty="0" smtClean="0"/>
              <a:t>Инновационные казначейские </a:t>
            </a:r>
            <a:r>
              <a:rPr lang="ru-RU" dirty="0" smtClean="0"/>
              <a:t>инструменты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6536" y="3789040"/>
            <a:ext cx="2952328" cy="1079500"/>
          </a:xfrm>
        </p:spPr>
        <p:txBody>
          <a:bodyPr/>
          <a:lstStyle/>
          <a:p>
            <a:pPr marL="0" indent="0"/>
            <a:r>
              <a:rPr lang="ru-RU" sz="2000" b="1" dirty="0" smtClean="0"/>
              <a:t>2.3 </a:t>
            </a:r>
            <a:r>
              <a:rPr lang="ru-RU" sz="2000" b="1" dirty="0" smtClean="0"/>
              <a:t>Динамическое дисконтирование            за раннюю оплату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335280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031954"/>
            <a:ext cx="9906000" cy="53378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956751" y="1155741"/>
            <a:ext cx="8949249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>
                <a:ln w="0"/>
                <a:solidFill>
                  <a:schemeClr val="accent4"/>
                </a:solidFill>
                <a:latin typeface="+mj-lt"/>
              </a:rPr>
              <a:t>Банки являются барьером между </a:t>
            </a:r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компаниями, </a:t>
            </a:r>
            <a:r>
              <a:rPr lang="ru-RU" sz="1200" b="1" dirty="0">
                <a:ln w="0"/>
                <a:solidFill>
                  <a:schemeClr val="accent4"/>
                </a:solidFill>
                <a:latin typeface="+mj-lt"/>
              </a:rPr>
              <a:t>что </a:t>
            </a:r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приводит к неэффективному взаимодействию. </a:t>
            </a:r>
            <a:endParaRPr lang="ru-RU" sz="1200" b="1" dirty="0">
              <a:ln w="0"/>
              <a:solidFill>
                <a:schemeClr val="accent4"/>
              </a:solidFill>
              <a:latin typeface="+mj-lt"/>
            </a:endParaRPr>
          </a:p>
          <a:p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Покупатель зарабатывает </a:t>
            </a:r>
            <a:r>
              <a:rPr lang="ru-RU" sz="1200" b="1" dirty="0">
                <a:ln w="0"/>
                <a:solidFill>
                  <a:schemeClr val="accent4"/>
                </a:solidFill>
                <a:latin typeface="+mj-lt"/>
              </a:rPr>
              <a:t>низкую доходность от размещения свободных денежных средств, а поставщики занимают эти денежные средства </a:t>
            </a:r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под высокие проценты.</a:t>
            </a:r>
            <a:endParaRPr lang="ru-RU" sz="1200" b="1" dirty="0">
              <a:ln w="0"/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7" name="Chevron 6"/>
          <p:cNvSpPr/>
          <p:nvPr/>
        </p:nvSpPr>
        <p:spPr>
          <a:xfrm>
            <a:off x="539964" y="1144855"/>
            <a:ext cx="208793" cy="533399"/>
          </a:xfrm>
          <a:prstGeom prst="chevron">
            <a:avLst/>
          </a:prstGeom>
          <a:solidFill>
            <a:srgbClr val="4066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381000" y="1144855"/>
            <a:ext cx="208793" cy="533399"/>
          </a:xfrm>
          <a:prstGeom prst="chevron">
            <a:avLst/>
          </a:prstGeom>
          <a:solidFill>
            <a:srgbClr val="BFC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956751" y="3780837"/>
            <a:ext cx="8339649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ru-RU" sz="1200" b="1" dirty="0" err="1" smtClean="0">
                <a:ln w="0"/>
                <a:solidFill>
                  <a:schemeClr val="accent4"/>
                </a:solidFill>
                <a:latin typeface="+mj-lt"/>
              </a:rPr>
              <a:t>Факторинговые</a:t>
            </a:r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 компании также являются посредниками между компаниями, покупая дебиторскую задолженность поставщиков с дисконтом</a:t>
            </a:r>
            <a:r>
              <a:rPr lang="en-US" sz="1200" b="1" dirty="0" smtClean="0">
                <a:ln w="0"/>
                <a:solidFill>
                  <a:schemeClr val="accent4"/>
                </a:solidFill>
                <a:latin typeface="+mj-lt"/>
              </a:rPr>
              <a:t>.</a:t>
            </a:r>
          </a:p>
          <a:p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Величина дисконта является комиссией </a:t>
            </a:r>
            <a:r>
              <a:rPr lang="ru-RU" sz="1200" b="1" dirty="0" err="1" smtClean="0">
                <a:ln w="0"/>
                <a:solidFill>
                  <a:schemeClr val="accent4"/>
                </a:solidFill>
                <a:latin typeface="+mj-lt"/>
              </a:rPr>
              <a:t>факторинговой</a:t>
            </a:r>
            <a:r>
              <a:rPr lang="ru-RU" sz="1200" b="1" dirty="0" smtClean="0">
                <a:ln w="0"/>
                <a:solidFill>
                  <a:schemeClr val="accent4"/>
                </a:solidFill>
                <a:latin typeface="+mj-lt"/>
              </a:rPr>
              <a:t> компании за проведение операции.</a:t>
            </a:r>
            <a:r>
              <a:rPr lang="en-US" sz="1200" b="1" dirty="0" smtClean="0">
                <a:ln w="0"/>
                <a:solidFill>
                  <a:schemeClr val="accent4"/>
                </a:solidFill>
                <a:latin typeface="+mj-lt"/>
              </a:rPr>
              <a:t>  </a:t>
            </a:r>
          </a:p>
        </p:txBody>
      </p:sp>
      <p:sp>
        <p:nvSpPr>
          <p:cNvPr id="82" name="Chevron 81"/>
          <p:cNvSpPr/>
          <p:nvPr/>
        </p:nvSpPr>
        <p:spPr>
          <a:xfrm>
            <a:off x="539964" y="3769951"/>
            <a:ext cx="208793" cy="533399"/>
          </a:xfrm>
          <a:prstGeom prst="chevron">
            <a:avLst/>
          </a:prstGeom>
          <a:solidFill>
            <a:srgbClr val="4066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83" name="Chevron 82"/>
          <p:cNvSpPr/>
          <p:nvPr/>
        </p:nvSpPr>
        <p:spPr>
          <a:xfrm>
            <a:off x="381000" y="3769951"/>
            <a:ext cx="208793" cy="533399"/>
          </a:xfrm>
          <a:prstGeom prst="chevron">
            <a:avLst/>
          </a:prstGeom>
          <a:solidFill>
            <a:srgbClr val="BFC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512813" y="1828800"/>
            <a:ext cx="7021587" cy="1846006"/>
            <a:chOff x="1131813" y="1723108"/>
            <a:chExt cx="7043962" cy="1951698"/>
          </a:xfrm>
        </p:grpSpPr>
        <p:sp>
          <p:nvSpPr>
            <p:cNvPr id="13" name="Rectangle 12"/>
            <p:cNvSpPr/>
            <p:nvPr/>
          </p:nvSpPr>
          <p:spPr>
            <a:xfrm>
              <a:off x="6145807" y="2188674"/>
              <a:ext cx="2027469" cy="1042887"/>
            </a:xfrm>
            <a:prstGeom prst="rect">
              <a:avLst/>
            </a:prstGeom>
            <a:solidFill>
              <a:srgbClr val="E5F2F4"/>
            </a:solidFill>
            <a:ln>
              <a:solidFill>
                <a:srgbClr val="80BE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624528" y="2188674"/>
              <a:ext cx="2027469" cy="1042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131813" y="2188674"/>
              <a:ext cx="2027469" cy="1042887"/>
            </a:xfrm>
            <a:prstGeom prst="rect">
              <a:avLst/>
            </a:prstGeom>
            <a:solidFill>
              <a:srgbClr val="E5F2F4"/>
            </a:solidFill>
            <a:ln>
              <a:solidFill>
                <a:srgbClr val="80BE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922442" y="2289004"/>
              <a:ext cx="143164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 smtClean="0">
                  <a:solidFill>
                    <a:schemeClr val="accent4"/>
                  </a:solidFill>
                </a:rPr>
                <a:t>Банк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 flipH="1" flipV="1">
              <a:off x="2300704" y="1867928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739863" y="2633426"/>
              <a:ext cx="8393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>
                <a:lnSpc>
                  <a:spcPct val="80000"/>
                </a:lnSpc>
              </a:pPr>
              <a:r>
                <a:rPr lang="ru-RU" sz="1000" b="1" dirty="0" smtClean="0">
                  <a:solidFill>
                    <a:schemeClr val="accent4"/>
                  </a:solidFill>
                </a:rPr>
                <a:t>Высокие ставки по займам</a:t>
              </a:r>
              <a:endParaRPr lang="en-US" sz="1000" b="1" dirty="0">
                <a:solidFill>
                  <a:schemeClr val="accent4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865449" y="1723108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ru-RU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Депозит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auto">
            <a:xfrm flipH="1" flipV="1">
              <a:off x="4907163" y="1867928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grpSp>
          <p:nvGrpSpPr>
            <p:cNvPr id="35" name="Head Office (Building)"/>
            <p:cNvGrpSpPr/>
            <p:nvPr>
              <p:custDataLst>
                <p:tags r:id="rId1"/>
              </p:custDataLst>
            </p:nvPr>
          </p:nvGrpSpPr>
          <p:grpSpPr>
            <a:xfrm>
              <a:off x="4373091" y="2757094"/>
              <a:ext cx="530343" cy="273879"/>
              <a:chOff x="8619100" y="4332566"/>
              <a:chExt cx="588600" cy="324000"/>
            </a:xfrm>
            <a:solidFill>
              <a:srgbClr val="00338D"/>
            </a:solidFill>
          </p:grpSpPr>
          <p:sp>
            <p:nvSpPr>
              <p:cNvPr id="37" name="Freeform 1455"/>
              <p:cNvSpPr>
                <a:spLocks/>
              </p:cNvSpPr>
              <p:nvPr/>
            </p:nvSpPr>
            <p:spPr bwMode="auto">
              <a:xfrm>
                <a:off x="8792142" y="4332566"/>
                <a:ext cx="241873" cy="48857"/>
              </a:xfrm>
              <a:custGeom>
                <a:avLst/>
                <a:gdLst>
                  <a:gd name="T0" fmla="*/ 376 w 376"/>
                  <a:gd name="T1" fmla="*/ 76 h 76"/>
                  <a:gd name="T2" fmla="*/ 358 w 376"/>
                  <a:gd name="T3" fmla="*/ 60 h 76"/>
                  <a:gd name="T4" fmla="*/ 337 w 376"/>
                  <a:gd name="T5" fmla="*/ 44 h 76"/>
                  <a:gd name="T6" fmla="*/ 316 w 376"/>
                  <a:gd name="T7" fmla="*/ 31 h 76"/>
                  <a:gd name="T8" fmla="*/ 293 w 376"/>
                  <a:gd name="T9" fmla="*/ 21 h 76"/>
                  <a:gd name="T10" fmla="*/ 269 w 376"/>
                  <a:gd name="T11" fmla="*/ 11 h 76"/>
                  <a:gd name="T12" fmla="*/ 243 w 376"/>
                  <a:gd name="T13" fmla="*/ 5 h 76"/>
                  <a:gd name="T14" fmla="*/ 217 w 376"/>
                  <a:gd name="T15" fmla="*/ 2 h 76"/>
                  <a:gd name="T16" fmla="*/ 189 w 376"/>
                  <a:gd name="T17" fmla="*/ 0 h 76"/>
                  <a:gd name="T18" fmla="*/ 162 w 376"/>
                  <a:gd name="T19" fmla="*/ 2 h 76"/>
                  <a:gd name="T20" fmla="*/ 136 w 376"/>
                  <a:gd name="T21" fmla="*/ 5 h 76"/>
                  <a:gd name="T22" fmla="*/ 110 w 376"/>
                  <a:gd name="T23" fmla="*/ 11 h 76"/>
                  <a:gd name="T24" fmla="*/ 86 w 376"/>
                  <a:gd name="T25" fmla="*/ 21 h 76"/>
                  <a:gd name="T26" fmla="*/ 61 w 376"/>
                  <a:gd name="T27" fmla="*/ 31 h 76"/>
                  <a:gd name="T28" fmla="*/ 39 w 376"/>
                  <a:gd name="T29" fmla="*/ 44 h 76"/>
                  <a:gd name="T30" fmla="*/ 19 w 376"/>
                  <a:gd name="T31" fmla="*/ 60 h 76"/>
                  <a:gd name="T32" fmla="*/ 0 w 376"/>
                  <a:gd name="T33" fmla="*/ 76 h 76"/>
                  <a:gd name="T34" fmla="*/ 376 w 376"/>
                  <a:gd name="T35" fmla="*/ 76 h 7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76"/>
                  <a:gd name="T55" fmla="*/ 0 h 76"/>
                  <a:gd name="T56" fmla="*/ 376 w 376"/>
                  <a:gd name="T57" fmla="*/ 76 h 7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76" h="76">
                    <a:moveTo>
                      <a:pt x="376" y="76"/>
                    </a:moveTo>
                    <a:lnTo>
                      <a:pt x="358" y="60"/>
                    </a:lnTo>
                    <a:lnTo>
                      <a:pt x="337" y="44"/>
                    </a:lnTo>
                    <a:lnTo>
                      <a:pt x="316" y="31"/>
                    </a:lnTo>
                    <a:lnTo>
                      <a:pt x="293" y="21"/>
                    </a:lnTo>
                    <a:lnTo>
                      <a:pt x="269" y="11"/>
                    </a:lnTo>
                    <a:lnTo>
                      <a:pt x="243" y="5"/>
                    </a:lnTo>
                    <a:lnTo>
                      <a:pt x="217" y="2"/>
                    </a:lnTo>
                    <a:lnTo>
                      <a:pt x="189" y="0"/>
                    </a:lnTo>
                    <a:lnTo>
                      <a:pt x="162" y="2"/>
                    </a:lnTo>
                    <a:lnTo>
                      <a:pt x="136" y="5"/>
                    </a:lnTo>
                    <a:lnTo>
                      <a:pt x="110" y="11"/>
                    </a:lnTo>
                    <a:lnTo>
                      <a:pt x="86" y="21"/>
                    </a:lnTo>
                    <a:lnTo>
                      <a:pt x="61" y="31"/>
                    </a:lnTo>
                    <a:lnTo>
                      <a:pt x="39" y="44"/>
                    </a:lnTo>
                    <a:lnTo>
                      <a:pt x="19" y="60"/>
                    </a:lnTo>
                    <a:lnTo>
                      <a:pt x="0" y="76"/>
                    </a:lnTo>
                    <a:lnTo>
                      <a:pt x="376" y="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8" name="Rectangle 1456"/>
              <p:cNvSpPr>
                <a:spLocks noChangeArrowheads="1"/>
              </p:cNvSpPr>
              <p:nvPr/>
            </p:nvSpPr>
            <p:spPr bwMode="auto">
              <a:xfrm>
                <a:off x="8862903" y="4475923"/>
                <a:ext cx="39240" cy="18064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9" name="Rectangle 1457"/>
              <p:cNvSpPr>
                <a:spLocks noChangeArrowheads="1"/>
              </p:cNvSpPr>
              <p:nvPr/>
            </p:nvSpPr>
            <p:spPr bwMode="auto">
              <a:xfrm>
                <a:off x="8924657" y="4475923"/>
                <a:ext cx="39240" cy="18064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0" name="Rectangle 1458"/>
              <p:cNvSpPr>
                <a:spLocks noChangeArrowheads="1"/>
              </p:cNvSpPr>
              <p:nvPr/>
            </p:nvSpPr>
            <p:spPr bwMode="auto">
              <a:xfrm>
                <a:off x="8985769" y="4475923"/>
                <a:ext cx="34094" cy="18064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1" name="Rectangle 1459"/>
              <p:cNvSpPr>
                <a:spLocks noChangeArrowheads="1"/>
              </p:cNvSpPr>
              <p:nvPr/>
            </p:nvSpPr>
            <p:spPr bwMode="auto">
              <a:xfrm>
                <a:off x="8806937" y="4475923"/>
                <a:ext cx="34094" cy="180643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42" name="Freeform 1460"/>
              <p:cNvSpPr>
                <a:spLocks/>
              </p:cNvSpPr>
              <p:nvPr/>
            </p:nvSpPr>
            <p:spPr bwMode="auto">
              <a:xfrm>
                <a:off x="8619100" y="4399423"/>
                <a:ext cx="588600" cy="257143"/>
              </a:xfrm>
              <a:custGeom>
                <a:avLst/>
                <a:gdLst>
                  <a:gd name="T0" fmla="*/ 763 w 915"/>
                  <a:gd name="T1" fmla="*/ 244 h 400"/>
                  <a:gd name="T2" fmla="*/ 701 w 915"/>
                  <a:gd name="T3" fmla="*/ 244 h 400"/>
                  <a:gd name="T4" fmla="*/ 701 w 915"/>
                  <a:gd name="T5" fmla="*/ 179 h 400"/>
                  <a:gd name="T6" fmla="*/ 763 w 915"/>
                  <a:gd name="T7" fmla="*/ 179 h 400"/>
                  <a:gd name="T8" fmla="*/ 789 w 915"/>
                  <a:gd name="T9" fmla="*/ 179 h 400"/>
                  <a:gd name="T10" fmla="*/ 850 w 915"/>
                  <a:gd name="T11" fmla="*/ 179 h 400"/>
                  <a:gd name="T12" fmla="*/ 850 w 915"/>
                  <a:gd name="T13" fmla="*/ 104 h 400"/>
                  <a:gd name="T14" fmla="*/ 789 w 915"/>
                  <a:gd name="T15" fmla="*/ 104 h 400"/>
                  <a:gd name="T16" fmla="*/ 789 w 915"/>
                  <a:gd name="T17" fmla="*/ 179 h 400"/>
                  <a:gd name="T18" fmla="*/ 763 w 915"/>
                  <a:gd name="T19" fmla="*/ 179 h 400"/>
                  <a:gd name="T20" fmla="*/ 763 w 915"/>
                  <a:gd name="T21" fmla="*/ 104 h 400"/>
                  <a:gd name="T22" fmla="*/ 701 w 915"/>
                  <a:gd name="T23" fmla="*/ 104 h 400"/>
                  <a:gd name="T24" fmla="*/ 701 w 915"/>
                  <a:gd name="T25" fmla="*/ 37 h 400"/>
                  <a:gd name="T26" fmla="*/ 915 w 915"/>
                  <a:gd name="T27" fmla="*/ 37 h 400"/>
                  <a:gd name="T28" fmla="*/ 915 w 915"/>
                  <a:gd name="T29" fmla="*/ 400 h 400"/>
                  <a:gd name="T30" fmla="*/ 656 w 915"/>
                  <a:gd name="T31" fmla="*/ 400 h 400"/>
                  <a:gd name="T32" fmla="*/ 654 w 915"/>
                  <a:gd name="T33" fmla="*/ 111 h 400"/>
                  <a:gd name="T34" fmla="*/ 458 w 915"/>
                  <a:gd name="T35" fmla="*/ 49 h 400"/>
                  <a:gd name="T36" fmla="*/ 257 w 915"/>
                  <a:gd name="T37" fmla="*/ 111 h 400"/>
                  <a:gd name="T38" fmla="*/ 257 w 915"/>
                  <a:gd name="T39" fmla="*/ 400 h 400"/>
                  <a:gd name="T40" fmla="*/ 0 w 915"/>
                  <a:gd name="T41" fmla="*/ 400 h 400"/>
                  <a:gd name="T42" fmla="*/ 0 w 915"/>
                  <a:gd name="T43" fmla="*/ 37 h 400"/>
                  <a:gd name="T44" fmla="*/ 212 w 915"/>
                  <a:gd name="T45" fmla="*/ 37 h 400"/>
                  <a:gd name="T46" fmla="*/ 212 w 915"/>
                  <a:gd name="T47" fmla="*/ 104 h 400"/>
                  <a:gd name="T48" fmla="*/ 152 w 915"/>
                  <a:gd name="T49" fmla="*/ 104 h 400"/>
                  <a:gd name="T50" fmla="*/ 152 w 915"/>
                  <a:gd name="T51" fmla="*/ 179 h 400"/>
                  <a:gd name="T52" fmla="*/ 126 w 915"/>
                  <a:gd name="T53" fmla="*/ 179 h 400"/>
                  <a:gd name="T54" fmla="*/ 126 w 915"/>
                  <a:gd name="T55" fmla="*/ 104 h 400"/>
                  <a:gd name="T56" fmla="*/ 65 w 915"/>
                  <a:gd name="T57" fmla="*/ 104 h 400"/>
                  <a:gd name="T58" fmla="*/ 65 w 915"/>
                  <a:gd name="T59" fmla="*/ 179 h 400"/>
                  <a:gd name="T60" fmla="*/ 126 w 915"/>
                  <a:gd name="T61" fmla="*/ 179 h 400"/>
                  <a:gd name="T62" fmla="*/ 152 w 915"/>
                  <a:gd name="T63" fmla="*/ 179 h 400"/>
                  <a:gd name="T64" fmla="*/ 212 w 915"/>
                  <a:gd name="T65" fmla="*/ 179 h 400"/>
                  <a:gd name="T66" fmla="*/ 212 w 915"/>
                  <a:gd name="T67" fmla="*/ 244 h 400"/>
                  <a:gd name="T68" fmla="*/ 152 w 915"/>
                  <a:gd name="T69" fmla="*/ 244 h 400"/>
                  <a:gd name="T70" fmla="*/ 126 w 915"/>
                  <a:gd name="T71" fmla="*/ 244 h 400"/>
                  <a:gd name="T72" fmla="*/ 65 w 915"/>
                  <a:gd name="T73" fmla="*/ 244 h 400"/>
                  <a:gd name="T74" fmla="*/ 65 w 915"/>
                  <a:gd name="T75" fmla="*/ 317 h 400"/>
                  <a:gd name="T76" fmla="*/ 126 w 915"/>
                  <a:gd name="T77" fmla="*/ 317 h 400"/>
                  <a:gd name="T78" fmla="*/ 126 w 915"/>
                  <a:gd name="T79" fmla="*/ 244 h 400"/>
                  <a:gd name="T80" fmla="*/ 152 w 915"/>
                  <a:gd name="T81" fmla="*/ 244 h 400"/>
                  <a:gd name="T82" fmla="*/ 152 w 915"/>
                  <a:gd name="T83" fmla="*/ 317 h 400"/>
                  <a:gd name="T84" fmla="*/ 212 w 915"/>
                  <a:gd name="T85" fmla="*/ 317 h 400"/>
                  <a:gd name="T86" fmla="*/ 212 w 915"/>
                  <a:gd name="T87" fmla="*/ 244 h 400"/>
                  <a:gd name="T88" fmla="*/ 212 w 915"/>
                  <a:gd name="T89" fmla="*/ 179 h 400"/>
                  <a:gd name="T90" fmla="*/ 212 w 915"/>
                  <a:gd name="T91" fmla="*/ 104 h 400"/>
                  <a:gd name="T92" fmla="*/ 212 w 915"/>
                  <a:gd name="T93" fmla="*/ 37 h 400"/>
                  <a:gd name="T94" fmla="*/ 212 w 915"/>
                  <a:gd name="T95" fmla="*/ 0 h 400"/>
                  <a:gd name="T96" fmla="*/ 701 w 915"/>
                  <a:gd name="T97" fmla="*/ 0 h 400"/>
                  <a:gd name="T98" fmla="*/ 701 w 915"/>
                  <a:gd name="T99" fmla="*/ 37 h 400"/>
                  <a:gd name="T100" fmla="*/ 701 w 915"/>
                  <a:gd name="T101" fmla="*/ 104 h 400"/>
                  <a:gd name="T102" fmla="*/ 701 w 915"/>
                  <a:gd name="T103" fmla="*/ 179 h 400"/>
                  <a:gd name="T104" fmla="*/ 701 w 915"/>
                  <a:gd name="T105" fmla="*/ 244 h 400"/>
                  <a:gd name="T106" fmla="*/ 701 w 915"/>
                  <a:gd name="T107" fmla="*/ 317 h 400"/>
                  <a:gd name="T108" fmla="*/ 763 w 915"/>
                  <a:gd name="T109" fmla="*/ 317 h 400"/>
                  <a:gd name="T110" fmla="*/ 763 w 915"/>
                  <a:gd name="T111" fmla="*/ 244 h 400"/>
                  <a:gd name="T112" fmla="*/ 789 w 915"/>
                  <a:gd name="T113" fmla="*/ 244 h 400"/>
                  <a:gd name="T114" fmla="*/ 789 w 915"/>
                  <a:gd name="T115" fmla="*/ 317 h 400"/>
                  <a:gd name="T116" fmla="*/ 850 w 915"/>
                  <a:gd name="T117" fmla="*/ 317 h 400"/>
                  <a:gd name="T118" fmla="*/ 850 w 915"/>
                  <a:gd name="T119" fmla="*/ 244 h 400"/>
                  <a:gd name="T120" fmla="*/ 789 w 915"/>
                  <a:gd name="T121" fmla="*/ 244 h 400"/>
                  <a:gd name="T122" fmla="*/ 763 w 915"/>
                  <a:gd name="T123" fmla="*/ 244 h 40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15"/>
                  <a:gd name="T187" fmla="*/ 0 h 400"/>
                  <a:gd name="T188" fmla="*/ 915 w 915"/>
                  <a:gd name="T189" fmla="*/ 400 h 40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15" h="400">
                    <a:moveTo>
                      <a:pt x="763" y="244"/>
                    </a:moveTo>
                    <a:lnTo>
                      <a:pt x="701" y="244"/>
                    </a:lnTo>
                    <a:lnTo>
                      <a:pt x="701" y="179"/>
                    </a:lnTo>
                    <a:lnTo>
                      <a:pt x="763" y="179"/>
                    </a:lnTo>
                    <a:lnTo>
                      <a:pt x="789" y="179"/>
                    </a:lnTo>
                    <a:lnTo>
                      <a:pt x="850" y="179"/>
                    </a:lnTo>
                    <a:lnTo>
                      <a:pt x="850" y="104"/>
                    </a:lnTo>
                    <a:lnTo>
                      <a:pt x="789" y="104"/>
                    </a:lnTo>
                    <a:lnTo>
                      <a:pt x="789" y="179"/>
                    </a:lnTo>
                    <a:lnTo>
                      <a:pt x="763" y="179"/>
                    </a:lnTo>
                    <a:lnTo>
                      <a:pt x="763" y="104"/>
                    </a:lnTo>
                    <a:lnTo>
                      <a:pt x="701" y="104"/>
                    </a:lnTo>
                    <a:lnTo>
                      <a:pt x="701" y="37"/>
                    </a:lnTo>
                    <a:lnTo>
                      <a:pt x="915" y="37"/>
                    </a:lnTo>
                    <a:lnTo>
                      <a:pt x="915" y="400"/>
                    </a:lnTo>
                    <a:lnTo>
                      <a:pt x="656" y="400"/>
                    </a:lnTo>
                    <a:lnTo>
                      <a:pt x="654" y="111"/>
                    </a:lnTo>
                    <a:lnTo>
                      <a:pt x="458" y="49"/>
                    </a:lnTo>
                    <a:lnTo>
                      <a:pt x="257" y="111"/>
                    </a:lnTo>
                    <a:lnTo>
                      <a:pt x="257" y="400"/>
                    </a:lnTo>
                    <a:lnTo>
                      <a:pt x="0" y="400"/>
                    </a:lnTo>
                    <a:lnTo>
                      <a:pt x="0" y="37"/>
                    </a:lnTo>
                    <a:lnTo>
                      <a:pt x="212" y="37"/>
                    </a:lnTo>
                    <a:lnTo>
                      <a:pt x="212" y="104"/>
                    </a:lnTo>
                    <a:lnTo>
                      <a:pt x="152" y="104"/>
                    </a:lnTo>
                    <a:lnTo>
                      <a:pt x="152" y="179"/>
                    </a:lnTo>
                    <a:lnTo>
                      <a:pt x="126" y="179"/>
                    </a:lnTo>
                    <a:lnTo>
                      <a:pt x="126" y="104"/>
                    </a:lnTo>
                    <a:lnTo>
                      <a:pt x="65" y="104"/>
                    </a:lnTo>
                    <a:lnTo>
                      <a:pt x="65" y="179"/>
                    </a:lnTo>
                    <a:lnTo>
                      <a:pt x="126" y="179"/>
                    </a:lnTo>
                    <a:lnTo>
                      <a:pt x="152" y="179"/>
                    </a:lnTo>
                    <a:lnTo>
                      <a:pt x="212" y="179"/>
                    </a:lnTo>
                    <a:lnTo>
                      <a:pt x="212" y="244"/>
                    </a:lnTo>
                    <a:lnTo>
                      <a:pt x="152" y="244"/>
                    </a:lnTo>
                    <a:lnTo>
                      <a:pt x="126" y="244"/>
                    </a:lnTo>
                    <a:lnTo>
                      <a:pt x="65" y="244"/>
                    </a:lnTo>
                    <a:lnTo>
                      <a:pt x="65" y="317"/>
                    </a:lnTo>
                    <a:lnTo>
                      <a:pt x="126" y="317"/>
                    </a:lnTo>
                    <a:lnTo>
                      <a:pt x="126" y="244"/>
                    </a:lnTo>
                    <a:lnTo>
                      <a:pt x="152" y="244"/>
                    </a:lnTo>
                    <a:lnTo>
                      <a:pt x="152" y="317"/>
                    </a:lnTo>
                    <a:lnTo>
                      <a:pt x="212" y="317"/>
                    </a:lnTo>
                    <a:lnTo>
                      <a:pt x="212" y="244"/>
                    </a:lnTo>
                    <a:lnTo>
                      <a:pt x="212" y="179"/>
                    </a:lnTo>
                    <a:lnTo>
                      <a:pt x="212" y="104"/>
                    </a:lnTo>
                    <a:lnTo>
                      <a:pt x="212" y="37"/>
                    </a:lnTo>
                    <a:lnTo>
                      <a:pt x="212" y="0"/>
                    </a:lnTo>
                    <a:lnTo>
                      <a:pt x="701" y="0"/>
                    </a:lnTo>
                    <a:lnTo>
                      <a:pt x="701" y="37"/>
                    </a:lnTo>
                    <a:lnTo>
                      <a:pt x="701" y="104"/>
                    </a:lnTo>
                    <a:lnTo>
                      <a:pt x="701" y="179"/>
                    </a:lnTo>
                    <a:lnTo>
                      <a:pt x="701" y="244"/>
                    </a:lnTo>
                    <a:lnTo>
                      <a:pt x="701" y="317"/>
                    </a:lnTo>
                    <a:lnTo>
                      <a:pt x="763" y="317"/>
                    </a:lnTo>
                    <a:lnTo>
                      <a:pt x="763" y="244"/>
                    </a:lnTo>
                    <a:lnTo>
                      <a:pt x="789" y="244"/>
                    </a:lnTo>
                    <a:lnTo>
                      <a:pt x="789" y="317"/>
                    </a:lnTo>
                    <a:lnTo>
                      <a:pt x="850" y="317"/>
                    </a:lnTo>
                    <a:lnTo>
                      <a:pt x="850" y="244"/>
                    </a:lnTo>
                    <a:lnTo>
                      <a:pt x="789" y="244"/>
                    </a:lnTo>
                    <a:lnTo>
                      <a:pt x="763" y="24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51" name="TextBox 50"/>
            <p:cNvSpPr txBox="1"/>
            <p:nvPr/>
          </p:nvSpPr>
          <p:spPr>
            <a:xfrm>
              <a:off x="5561952" y="1755914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ru-RU" sz="1100" b="1" dirty="0" err="1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Займ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Freeform 14"/>
            <p:cNvSpPr>
              <a:spLocks/>
            </p:cNvSpPr>
            <p:nvPr/>
          </p:nvSpPr>
          <p:spPr bwMode="auto">
            <a:xfrm>
              <a:off x="2300705" y="3272059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4907164" y="3272059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913830" y="3345055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en-US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%%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5610333" y="3377861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en-US" sz="11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%%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1131813" y="2188674"/>
              <a:ext cx="2029968" cy="34761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rtlCol="0" anchor="ctr" anchorCtr="1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 smtClean="0">
                  <a:solidFill>
                    <a:schemeClr val="bg1"/>
                  </a:solidFill>
                </a:rPr>
                <a:t>Покупатель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6145807" y="2188674"/>
              <a:ext cx="2029968" cy="34761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rtlCol="0" anchor="ctr" anchorCtr="1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 smtClean="0">
                  <a:solidFill>
                    <a:schemeClr val="bg1"/>
                  </a:solidFill>
                </a:rPr>
                <a:t>Поставщик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1701135" y="2633426"/>
              <a:ext cx="888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>
                <a:lnSpc>
                  <a:spcPct val="80000"/>
                </a:lnSpc>
              </a:pPr>
              <a:r>
                <a:rPr lang="ru-RU" sz="1000" b="1" dirty="0" smtClean="0">
                  <a:solidFill>
                    <a:schemeClr val="accent4"/>
                  </a:solidFill>
                </a:rPr>
                <a:t>Низкие ставки по депозитам</a:t>
              </a:r>
              <a:endParaRPr lang="en-US" sz="10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512813" y="4454817"/>
            <a:ext cx="7021587" cy="1914955"/>
            <a:chOff x="1131813" y="4343400"/>
            <a:chExt cx="7043962" cy="2024594"/>
          </a:xfrm>
        </p:grpSpPr>
        <p:sp>
          <p:nvSpPr>
            <p:cNvPr id="58" name="Rectangle 57"/>
            <p:cNvSpPr/>
            <p:nvPr/>
          </p:nvSpPr>
          <p:spPr>
            <a:xfrm>
              <a:off x="6145807" y="4867960"/>
              <a:ext cx="2027469" cy="1042887"/>
            </a:xfrm>
            <a:prstGeom prst="rect">
              <a:avLst/>
            </a:prstGeom>
            <a:solidFill>
              <a:srgbClr val="E5F2F4"/>
            </a:solidFill>
            <a:ln>
              <a:solidFill>
                <a:srgbClr val="80BE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3644403" y="4867960"/>
              <a:ext cx="2027469" cy="10428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131813" y="4867960"/>
              <a:ext cx="2027469" cy="1042887"/>
            </a:xfrm>
            <a:prstGeom prst="rect">
              <a:avLst/>
            </a:prstGeom>
            <a:solidFill>
              <a:srgbClr val="E5F2F4"/>
            </a:solidFill>
            <a:ln>
              <a:solidFill>
                <a:srgbClr val="80BEC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848320" y="5127793"/>
              <a:ext cx="161963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 err="1" smtClean="0">
                  <a:solidFill>
                    <a:schemeClr val="accent4"/>
                  </a:solidFill>
                </a:rPr>
                <a:t>Факторинговая</a:t>
              </a:r>
              <a:r>
                <a:rPr lang="ru-RU" b="1" dirty="0" smtClean="0">
                  <a:solidFill>
                    <a:schemeClr val="accent4"/>
                  </a:solidFill>
                </a:rPr>
                <a:t> компания</a:t>
              </a:r>
              <a:endParaRPr lang="en-US" sz="1200" b="1" dirty="0">
                <a:solidFill>
                  <a:schemeClr val="accent4"/>
                </a:solidFill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 flipH="1" flipV="1">
              <a:off x="2320579" y="4547214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6711700" y="5335278"/>
              <a:ext cx="89568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 lvl="0">
                <a:lnSpc>
                  <a:spcPct val="80000"/>
                </a:lnSpc>
              </a:pPr>
              <a:r>
                <a:rPr lang="ru-RU" sz="1000" b="1" dirty="0">
                  <a:solidFill>
                    <a:srgbClr val="00338D"/>
                  </a:solidFill>
                  <a:ea typeface="+mn-ea"/>
                  <a:cs typeface="+mn-cs"/>
                </a:rPr>
                <a:t>Высокие ставки по займам</a:t>
              </a:r>
              <a:endParaRPr lang="en-US" sz="1000" b="1" dirty="0">
                <a:solidFill>
                  <a:srgbClr val="00338D"/>
                </a:solidFill>
                <a:ea typeface="+mn-ea"/>
                <a:cs typeface="+mn-cs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2885324" y="4402394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ru-RU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латёж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Freeform 14"/>
            <p:cNvSpPr>
              <a:spLocks/>
            </p:cNvSpPr>
            <p:nvPr/>
          </p:nvSpPr>
          <p:spPr bwMode="auto">
            <a:xfrm flipH="1" flipV="1">
              <a:off x="4927038" y="4547214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5581827" y="4343400"/>
              <a:ext cx="759079" cy="4327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Платёж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>
                <a:lnSpc>
                  <a:spcPct val="80000"/>
                </a:lnSpc>
              </a:pPr>
              <a:r>
                <a:rPr lang="en-US" sz="11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-</a:t>
              </a:r>
            </a:p>
            <a:p>
              <a:pPr algn="ctr">
                <a:lnSpc>
                  <a:spcPct val="80000"/>
                </a:lnSpc>
              </a:pPr>
              <a:r>
                <a:rPr lang="ru-RU" sz="1100" b="1" dirty="0" smtClean="0">
                  <a:solidFill>
                    <a:srgbClr val="C00000"/>
                  </a:solidFill>
                  <a:latin typeface="Arial" pitchFamily="34" charset="0"/>
                  <a:cs typeface="Arial" pitchFamily="34" charset="0"/>
                </a:rPr>
                <a:t>дисконт</a:t>
              </a:r>
              <a:endParaRPr lang="en-US" sz="11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Freeform 14"/>
            <p:cNvSpPr>
              <a:spLocks/>
            </p:cNvSpPr>
            <p:nvPr/>
          </p:nvSpPr>
          <p:spPr bwMode="auto">
            <a:xfrm>
              <a:off x="2320580" y="5951345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72" name="Freeform 14"/>
            <p:cNvSpPr>
              <a:spLocks/>
            </p:cNvSpPr>
            <p:nvPr/>
          </p:nvSpPr>
          <p:spPr bwMode="auto">
            <a:xfrm>
              <a:off x="4927039" y="5951345"/>
              <a:ext cx="2068657" cy="309341"/>
            </a:xfrm>
            <a:custGeom>
              <a:avLst/>
              <a:gdLst/>
              <a:ahLst/>
              <a:cxnLst>
                <a:cxn ang="0">
                  <a:pos x="1067" y="28"/>
                </a:cxn>
                <a:cxn ang="0">
                  <a:pos x="538" y="334"/>
                </a:cxn>
                <a:cxn ang="0">
                  <a:pos x="27" y="56"/>
                </a:cxn>
                <a:cxn ang="0">
                  <a:pos x="0" y="71"/>
                </a:cxn>
                <a:cxn ang="0">
                  <a:pos x="0" y="9"/>
                </a:cxn>
                <a:cxn ang="0">
                  <a:pos x="0" y="0"/>
                </a:cxn>
                <a:cxn ang="0">
                  <a:pos x="6" y="3"/>
                </a:cxn>
                <a:cxn ang="0">
                  <a:pos x="62" y="36"/>
                </a:cxn>
                <a:cxn ang="0">
                  <a:pos x="34" y="52"/>
                </a:cxn>
                <a:cxn ang="0">
                  <a:pos x="538" y="326"/>
                </a:cxn>
                <a:cxn ang="0">
                  <a:pos x="1060" y="24"/>
                </a:cxn>
                <a:cxn ang="0">
                  <a:pos x="1067" y="28"/>
                </a:cxn>
              </a:cxnLst>
              <a:rect l="0" t="0" r="r" b="b"/>
              <a:pathLst>
                <a:path w="1067" h="334">
                  <a:moveTo>
                    <a:pt x="1067" y="28"/>
                  </a:moveTo>
                  <a:cubicBezTo>
                    <a:pt x="961" y="210"/>
                    <a:pt x="764" y="334"/>
                    <a:pt x="538" y="334"/>
                  </a:cubicBezTo>
                  <a:cubicBezTo>
                    <a:pt x="324" y="334"/>
                    <a:pt x="136" y="223"/>
                    <a:pt x="27" y="56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141" y="216"/>
                    <a:pt x="327" y="326"/>
                    <a:pt x="538" y="326"/>
                  </a:cubicBezTo>
                  <a:cubicBezTo>
                    <a:pt x="761" y="326"/>
                    <a:pt x="956" y="204"/>
                    <a:pt x="1060" y="24"/>
                  </a:cubicBezTo>
                  <a:lnTo>
                    <a:pt x="1067" y="28"/>
                  </a:lnTo>
                  <a:close/>
                </a:path>
              </a:pathLst>
            </a:custGeom>
            <a:solidFill>
              <a:srgbClr val="BABBBC"/>
            </a:solidFill>
            <a:ln w="9525" cap="flat" cmpd="sng" algn="ctr">
              <a:solidFill>
                <a:srgbClr val="BABBB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933705" y="6071047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ru-RU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Счёт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5630208" y="6071049"/>
              <a:ext cx="759079" cy="29694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54000" tIns="54000" rIns="54000" bIns="54000" rtlCol="0">
              <a:noAutofit/>
            </a:bodyPr>
            <a:lstStyle/>
            <a:p>
              <a:pPr algn="ctr"/>
              <a:r>
                <a:rPr lang="ru-RU" sz="1100" b="1" dirty="0" smtClean="0">
                  <a:solidFill>
                    <a:schemeClr val="bg1">
                      <a:lumMod val="50000"/>
                    </a:schemeClr>
                  </a:solidFill>
                  <a:latin typeface="Arial" pitchFamily="34" charset="0"/>
                  <a:cs typeface="Arial" pitchFamily="34" charset="0"/>
                </a:rPr>
                <a:t>Счёт</a:t>
              </a:r>
              <a:endParaRPr lang="en-US" sz="1100" b="1" dirty="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131813" y="4867959"/>
              <a:ext cx="2029968" cy="34761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rtlCol="0" anchor="ctr" anchorCtr="1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 smtClean="0">
                  <a:solidFill>
                    <a:schemeClr val="bg1"/>
                  </a:solidFill>
                </a:rPr>
                <a:t>Покупатель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6145807" y="4867959"/>
              <a:ext cx="2029968" cy="34761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wrap="square" rtlCol="0" anchor="ctr" anchorCtr="1">
              <a:no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r>
                <a:rPr lang="ru-RU" b="1" dirty="0">
                  <a:solidFill>
                    <a:schemeClr val="bg1"/>
                  </a:solidFill>
                </a:rPr>
                <a:t>Поставщик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1701135" y="5333188"/>
              <a:ext cx="88882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400">
                  <a:solidFill>
                    <a:srgbClr val="118BC9"/>
                  </a:solidFill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</a:lstStyle>
            <a:p>
              <a:pPr>
                <a:lnSpc>
                  <a:spcPct val="80000"/>
                </a:lnSpc>
              </a:pPr>
              <a:r>
                <a:rPr lang="ru-RU" sz="1000" b="1" dirty="0" smtClean="0">
                  <a:solidFill>
                    <a:schemeClr val="accent4"/>
                  </a:solidFill>
                </a:rPr>
                <a:t>Низкие ставки по депозитам</a:t>
              </a:r>
              <a:endParaRPr lang="en-US" sz="1000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57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>
                <a:solidFill>
                  <a:schemeClr val="bg1"/>
                </a:solidFill>
                <a:latin typeface="+mj-lt"/>
              </a:rPr>
              <a:t>Текущая практика взаимодействия между покупателем и поставщиком</a:t>
            </a:r>
          </a:p>
        </p:txBody>
      </p:sp>
    </p:spTree>
    <p:extLst>
      <p:ext uri="{BB962C8B-B14F-4D97-AF65-F5344CB8AC3E}">
        <p14:creationId xmlns:p14="http://schemas.microsoft.com/office/powerpoint/2010/main" val="8046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rallelogram 2"/>
          <p:cNvSpPr/>
          <p:nvPr/>
        </p:nvSpPr>
        <p:spPr>
          <a:xfrm>
            <a:off x="7267853" y="3447046"/>
            <a:ext cx="2286000" cy="437832"/>
          </a:xfrm>
          <a:prstGeom prst="parallelogram">
            <a:avLst/>
          </a:prstGeom>
          <a:solidFill>
            <a:srgbClr val="BFDEE4"/>
          </a:solidFill>
          <a:ln>
            <a:solidFill>
              <a:srgbClr val="409DAD"/>
            </a:solidFill>
          </a:ln>
        </p:spPr>
        <p:txBody>
          <a:bodyPr wrap="square" lIns="0" tIns="0" rIns="0" bIns="0" anchor="ctr" anchorCtr="0">
            <a:noAutofit/>
          </a:bodyPr>
          <a:lstStyle/>
          <a:p>
            <a:pPr marL="171450" indent="-171450">
              <a:lnSpc>
                <a:spcPct val="125000"/>
              </a:lnSpc>
              <a:spcAft>
                <a:spcPts val="600"/>
              </a:spcAft>
              <a:buClr>
                <a:schemeClr val="tx1"/>
              </a:buClr>
              <a:buSzPct val="150000"/>
              <a:buFont typeface="Arial" panose="020B0604020202020204" pitchFamily="34" charset="0"/>
              <a:buChar char="•"/>
            </a:pPr>
            <a:endParaRPr lang="en-US" sz="1000" i="1" dirty="0" smtClean="0"/>
          </a:p>
        </p:txBody>
      </p:sp>
      <p:sp>
        <p:nvSpPr>
          <p:cNvPr id="4" name="Parallelogram 3"/>
          <p:cNvSpPr/>
          <p:nvPr/>
        </p:nvSpPr>
        <p:spPr>
          <a:xfrm>
            <a:off x="76200" y="4824596"/>
            <a:ext cx="2286000" cy="437832"/>
          </a:xfrm>
          <a:prstGeom prst="parallelogram">
            <a:avLst/>
          </a:prstGeom>
          <a:solidFill>
            <a:srgbClr val="BFDEE4"/>
          </a:solidFill>
          <a:ln>
            <a:solidFill>
              <a:srgbClr val="409DAD"/>
            </a:solidFill>
          </a:ln>
        </p:spPr>
        <p:txBody>
          <a:bodyPr wrap="square" lIns="0" tIns="0" rIns="0" bIns="0" anchor="ctr" anchorCtr="0">
            <a:noAutofit/>
          </a:bodyPr>
          <a:lstStyle/>
          <a:p>
            <a:pPr marL="171450" indent="-171450">
              <a:lnSpc>
                <a:spcPct val="125000"/>
              </a:lnSpc>
              <a:spcAft>
                <a:spcPts val="600"/>
              </a:spcAft>
              <a:buClr>
                <a:schemeClr val="tx1"/>
              </a:buClr>
              <a:buSzPct val="150000"/>
              <a:buFont typeface="Arial" panose="020B0604020202020204" pitchFamily="34" charset="0"/>
              <a:buChar char="•"/>
            </a:pPr>
            <a:endParaRPr lang="en-US" sz="1000" i="1" dirty="0" smtClean="0"/>
          </a:p>
        </p:txBody>
      </p:sp>
      <p:sp>
        <p:nvSpPr>
          <p:cNvPr id="5" name="Rectangle 4"/>
          <p:cNvSpPr/>
          <p:nvPr/>
        </p:nvSpPr>
        <p:spPr>
          <a:xfrm>
            <a:off x="228600" y="1073911"/>
            <a:ext cx="2664099" cy="18418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152400" y="4813300"/>
            <a:ext cx="2075688" cy="46298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ctr" anchorCtr="0">
            <a:no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  <a:buSzPct val="150000"/>
            </a:pPr>
            <a:r>
              <a:rPr lang="ru-RU" sz="1100" b="1" dirty="0">
                <a:solidFill>
                  <a:schemeClr val="accent4"/>
                </a:solidFill>
              </a:rPr>
              <a:t>Покупатели с кассовыми разрывами (Арбитраж)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115447" y="1292884"/>
            <a:ext cx="2651760" cy="1567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127904" y="1693966"/>
            <a:ext cx="626847" cy="1077499"/>
          </a:xfrm>
          <a:prstGeom prst="rect">
            <a:avLst/>
          </a:prstGeom>
          <a:solidFill>
            <a:srgbClr val="4066AA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600" b="1" dirty="0" smtClean="0"/>
              <a:t>20</a:t>
            </a:r>
            <a:r>
              <a:rPr lang="ru-RU" sz="1600" b="1" dirty="0" smtClean="0"/>
              <a:t>%</a:t>
            </a:r>
            <a:endParaRPr lang="en-US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8030754" y="2770519"/>
            <a:ext cx="821146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Ставка кредита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05094" y="1103274"/>
            <a:ext cx="1872466" cy="432792"/>
          </a:xfrm>
          <a:prstGeom prst="ellipse">
            <a:avLst/>
          </a:prstGeom>
          <a:solidFill>
            <a:schemeClr val="bg1"/>
          </a:solidFill>
          <a:ln>
            <a:solidFill>
              <a:srgbClr val="4066AA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b="1" dirty="0" smtClean="0">
                <a:solidFill>
                  <a:schemeClr val="accent4"/>
                </a:solidFill>
              </a:rPr>
              <a:t>Поставщик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68400" y="1106526"/>
            <a:ext cx="1872466" cy="432792"/>
          </a:xfrm>
          <a:prstGeom prst="ellipse">
            <a:avLst/>
          </a:prstGeom>
          <a:solidFill>
            <a:schemeClr val="bg1"/>
          </a:solidFill>
          <a:ln>
            <a:solidFill>
              <a:srgbClr val="4066AA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b="1" dirty="0" smtClean="0">
                <a:solidFill>
                  <a:schemeClr val="accent4"/>
                </a:solidFill>
              </a:rPr>
              <a:t>Платформа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778753" y="1292884"/>
            <a:ext cx="2651760" cy="1567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369300" y="3942141"/>
            <a:ext cx="457200" cy="457200"/>
          </a:xfrm>
          <a:prstGeom prst="ellipse">
            <a:avLst/>
          </a:prstGeom>
          <a:solidFill>
            <a:srgbClr val="4066AA"/>
          </a:solidFill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100" b="1">
                <a:ln w="0"/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20%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944351" y="4071696"/>
            <a:ext cx="507537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&lt;</a:t>
            </a: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7382147" y="3447046"/>
            <a:ext cx="2075688" cy="43310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0">
            <a:no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  <a:buSzPct val="150000"/>
            </a:pPr>
            <a:r>
              <a:rPr lang="ru-RU" sz="1100" b="1" dirty="0" smtClean="0">
                <a:solidFill>
                  <a:schemeClr val="accent4"/>
                </a:solidFill>
              </a:rPr>
              <a:t>Поставщики с кассовыми разрывами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grpSp>
        <p:nvGrpSpPr>
          <p:cNvPr id="16" name="Group 112"/>
          <p:cNvGrpSpPr/>
          <p:nvPr/>
        </p:nvGrpSpPr>
        <p:grpSpPr>
          <a:xfrm>
            <a:off x="4464553" y="1524000"/>
            <a:ext cx="1280160" cy="1280160"/>
            <a:chOff x="8013700" y="1196974"/>
            <a:chExt cx="1482136" cy="1559149"/>
          </a:xfrm>
        </p:grpSpPr>
        <p:sp>
          <p:nvSpPr>
            <p:cNvPr id="17" name="Freeform 40"/>
            <p:cNvSpPr>
              <a:spLocks noChangeAspect="1"/>
            </p:cNvSpPr>
            <p:nvPr/>
          </p:nvSpPr>
          <p:spPr bwMode="gray">
            <a:xfrm>
              <a:off x="8013700" y="1325375"/>
              <a:ext cx="662548" cy="1157897"/>
            </a:xfrm>
            <a:custGeom>
              <a:avLst/>
              <a:gdLst/>
              <a:ahLst/>
              <a:cxnLst>
                <a:cxn ang="0">
                  <a:pos x="201" y="1227"/>
                </a:cxn>
                <a:cxn ang="0">
                  <a:pos x="0" y="1341"/>
                </a:cxn>
                <a:cxn ang="0">
                  <a:pos x="529" y="1415"/>
                </a:cxn>
                <a:cxn ang="0">
                  <a:pos x="718" y="934"/>
                </a:cxn>
                <a:cxn ang="0">
                  <a:pos x="528" y="1042"/>
                </a:cxn>
                <a:cxn ang="0">
                  <a:pos x="472" y="823"/>
                </a:cxn>
                <a:cxn ang="0">
                  <a:pos x="741" y="405"/>
                </a:cxn>
                <a:cxn ang="0">
                  <a:pos x="741" y="405"/>
                </a:cxn>
                <a:cxn ang="0">
                  <a:pos x="605" y="249"/>
                </a:cxn>
                <a:cxn ang="0">
                  <a:pos x="813" y="0"/>
                </a:cxn>
                <a:cxn ang="0">
                  <a:pos x="94" y="823"/>
                </a:cxn>
                <a:cxn ang="0">
                  <a:pos x="201" y="1227"/>
                </a:cxn>
              </a:cxnLst>
              <a:rect l="0" t="0" r="r" b="b"/>
              <a:pathLst>
                <a:path w="813" h="1415">
                  <a:moveTo>
                    <a:pt x="201" y="1227"/>
                  </a:moveTo>
                  <a:lnTo>
                    <a:pt x="0" y="1341"/>
                  </a:lnTo>
                  <a:lnTo>
                    <a:pt x="529" y="1415"/>
                  </a:lnTo>
                  <a:lnTo>
                    <a:pt x="718" y="934"/>
                  </a:lnTo>
                  <a:lnTo>
                    <a:pt x="528" y="1042"/>
                  </a:lnTo>
                  <a:cubicBezTo>
                    <a:pt x="492" y="974"/>
                    <a:pt x="472" y="899"/>
                    <a:pt x="472" y="823"/>
                  </a:cubicBezTo>
                  <a:cubicBezTo>
                    <a:pt x="472" y="645"/>
                    <a:pt x="577" y="482"/>
                    <a:pt x="741" y="405"/>
                  </a:cubicBezTo>
                  <a:lnTo>
                    <a:pt x="741" y="405"/>
                  </a:lnTo>
                  <a:lnTo>
                    <a:pt x="605" y="249"/>
                  </a:lnTo>
                  <a:lnTo>
                    <a:pt x="813" y="0"/>
                  </a:lnTo>
                  <a:cubicBezTo>
                    <a:pt x="399" y="64"/>
                    <a:pt x="94" y="413"/>
                    <a:pt x="94" y="823"/>
                  </a:cubicBezTo>
                  <a:cubicBezTo>
                    <a:pt x="94" y="965"/>
                    <a:pt x="131" y="1104"/>
                    <a:pt x="201" y="1227"/>
                  </a:cubicBezTo>
                  <a:close/>
                </a:path>
              </a:pathLst>
            </a:custGeom>
            <a:solidFill>
              <a:srgbClr val="F1F1F1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" name="Freeform 41"/>
            <p:cNvSpPr>
              <a:spLocks noChangeAspect="1"/>
            </p:cNvSpPr>
            <p:nvPr/>
          </p:nvSpPr>
          <p:spPr bwMode="gray">
            <a:xfrm>
              <a:off x="8013700" y="1325375"/>
              <a:ext cx="662548" cy="1157897"/>
            </a:xfrm>
            <a:custGeom>
              <a:avLst/>
              <a:gdLst/>
              <a:ahLst/>
              <a:cxnLst>
                <a:cxn ang="0">
                  <a:pos x="201" y="1227"/>
                </a:cxn>
                <a:cxn ang="0">
                  <a:pos x="0" y="1341"/>
                </a:cxn>
                <a:cxn ang="0">
                  <a:pos x="529" y="1415"/>
                </a:cxn>
                <a:cxn ang="0">
                  <a:pos x="718" y="934"/>
                </a:cxn>
                <a:cxn ang="0">
                  <a:pos x="528" y="1042"/>
                </a:cxn>
                <a:cxn ang="0">
                  <a:pos x="472" y="823"/>
                </a:cxn>
                <a:cxn ang="0">
                  <a:pos x="741" y="405"/>
                </a:cxn>
                <a:cxn ang="0">
                  <a:pos x="741" y="405"/>
                </a:cxn>
                <a:cxn ang="0">
                  <a:pos x="605" y="249"/>
                </a:cxn>
                <a:cxn ang="0">
                  <a:pos x="813" y="0"/>
                </a:cxn>
                <a:cxn ang="0">
                  <a:pos x="94" y="823"/>
                </a:cxn>
                <a:cxn ang="0">
                  <a:pos x="201" y="1227"/>
                </a:cxn>
              </a:cxnLst>
              <a:rect l="0" t="0" r="r" b="b"/>
              <a:pathLst>
                <a:path w="813" h="1415">
                  <a:moveTo>
                    <a:pt x="201" y="1227"/>
                  </a:moveTo>
                  <a:lnTo>
                    <a:pt x="0" y="1341"/>
                  </a:lnTo>
                  <a:lnTo>
                    <a:pt x="529" y="1415"/>
                  </a:lnTo>
                  <a:lnTo>
                    <a:pt x="718" y="934"/>
                  </a:lnTo>
                  <a:lnTo>
                    <a:pt x="528" y="1042"/>
                  </a:lnTo>
                  <a:cubicBezTo>
                    <a:pt x="492" y="974"/>
                    <a:pt x="472" y="899"/>
                    <a:pt x="472" y="823"/>
                  </a:cubicBezTo>
                  <a:cubicBezTo>
                    <a:pt x="472" y="645"/>
                    <a:pt x="577" y="482"/>
                    <a:pt x="741" y="405"/>
                  </a:cubicBezTo>
                  <a:lnTo>
                    <a:pt x="741" y="405"/>
                  </a:lnTo>
                  <a:lnTo>
                    <a:pt x="605" y="249"/>
                  </a:lnTo>
                  <a:lnTo>
                    <a:pt x="813" y="0"/>
                  </a:lnTo>
                  <a:cubicBezTo>
                    <a:pt x="399" y="64"/>
                    <a:pt x="94" y="413"/>
                    <a:pt x="94" y="823"/>
                  </a:cubicBezTo>
                  <a:cubicBezTo>
                    <a:pt x="94" y="965"/>
                    <a:pt x="131" y="1104"/>
                    <a:pt x="201" y="1227"/>
                  </a:cubicBezTo>
                  <a:close/>
                </a:path>
              </a:pathLst>
            </a:custGeom>
            <a:solidFill>
              <a:srgbClr val="BFDEE4"/>
            </a:solidFill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" name="Freeform 42"/>
            <p:cNvSpPr>
              <a:spLocks noChangeAspect="1"/>
            </p:cNvSpPr>
            <p:nvPr/>
          </p:nvSpPr>
          <p:spPr bwMode="gray">
            <a:xfrm>
              <a:off x="8272759" y="2030431"/>
              <a:ext cx="1223077" cy="725692"/>
            </a:xfrm>
            <a:custGeom>
              <a:avLst/>
              <a:gdLst/>
              <a:ahLst/>
              <a:cxnLst>
                <a:cxn ang="0">
                  <a:pos x="1353" y="396"/>
                </a:cxn>
                <a:cxn ang="0">
                  <a:pos x="1496" y="481"/>
                </a:cxn>
                <a:cxn ang="0">
                  <a:pos x="1307" y="0"/>
                </a:cxn>
                <a:cxn ang="0">
                  <a:pos x="816" y="74"/>
                </a:cxn>
                <a:cxn ang="0">
                  <a:pos x="1031" y="203"/>
                </a:cxn>
                <a:cxn ang="0">
                  <a:pos x="382" y="359"/>
                </a:cxn>
                <a:cxn ang="0">
                  <a:pos x="309" y="306"/>
                </a:cxn>
                <a:cxn ang="0">
                  <a:pos x="309" y="306"/>
                </a:cxn>
                <a:cxn ang="0">
                  <a:pos x="211" y="555"/>
                </a:cxn>
                <a:cxn ang="0">
                  <a:pos x="0" y="526"/>
                </a:cxn>
                <a:cxn ang="0">
                  <a:pos x="1201" y="577"/>
                </a:cxn>
                <a:cxn ang="0">
                  <a:pos x="1353" y="396"/>
                </a:cxn>
              </a:cxnLst>
              <a:rect l="0" t="0" r="r" b="b"/>
              <a:pathLst>
                <a:path w="1496" h="888">
                  <a:moveTo>
                    <a:pt x="1353" y="396"/>
                  </a:moveTo>
                  <a:lnTo>
                    <a:pt x="1496" y="481"/>
                  </a:lnTo>
                  <a:lnTo>
                    <a:pt x="1307" y="0"/>
                  </a:lnTo>
                  <a:lnTo>
                    <a:pt x="816" y="74"/>
                  </a:lnTo>
                  <a:lnTo>
                    <a:pt x="1031" y="203"/>
                  </a:lnTo>
                  <a:cubicBezTo>
                    <a:pt x="896" y="422"/>
                    <a:pt x="605" y="491"/>
                    <a:pt x="382" y="359"/>
                  </a:cubicBezTo>
                  <a:cubicBezTo>
                    <a:pt x="356" y="343"/>
                    <a:pt x="332" y="326"/>
                    <a:pt x="309" y="306"/>
                  </a:cubicBezTo>
                  <a:lnTo>
                    <a:pt x="309" y="306"/>
                  </a:lnTo>
                  <a:lnTo>
                    <a:pt x="211" y="555"/>
                  </a:lnTo>
                  <a:lnTo>
                    <a:pt x="0" y="526"/>
                  </a:lnTo>
                  <a:cubicBezTo>
                    <a:pt x="317" y="865"/>
                    <a:pt x="855" y="888"/>
                    <a:pt x="1201" y="577"/>
                  </a:cubicBezTo>
                  <a:cubicBezTo>
                    <a:pt x="1260" y="524"/>
                    <a:pt x="1312" y="463"/>
                    <a:pt x="1353" y="396"/>
                  </a:cubicBezTo>
                  <a:close/>
                </a:path>
              </a:pathLst>
            </a:custGeom>
            <a:solidFill>
              <a:srgbClr val="007C92"/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Freeform 43"/>
            <p:cNvSpPr>
              <a:spLocks noChangeAspect="1"/>
            </p:cNvSpPr>
            <p:nvPr/>
          </p:nvSpPr>
          <p:spPr bwMode="gray">
            <a:xfrm>
              <a:off x="8272759" y="2030431"/>
              <a:ext cx="1223077" cy="725692"/>
            </a:xfrm>
            <a:custGeom>
              <a:avLst/>
              <a:gdLst/>
              <a:ahLst/>
              <a:cxnLst>
                <a:cxn ang="0">
                  <a:pos x="1353" y="396"/>
                </a:cxn>
                <a:cxn ang="0">
                  <a:pos x="1496" y="481"/>
                </a:cxn>
                <a:cxn ang="0">
                  <a:pos x="1307" y="0"/>
                </a:cxn>
                <a:cxn ang="0">
                  <a:pos x="816" y="74"/>
                </a:cxn>
                <a:cxn ang="0">
                  <a:pos x="1031" y="203"/>
                </a:cxn>
                <a:cxn ang="0">
                  <a:pos x="382" y="359"/>
                </a:cxn>
                <a:cxn ang="0">
                  <a:pos x="309" y="306"/>
                </a:cxn>
                <a:cxn ang="0">
                  <a:pos x="309" y="306"/>
                </a:cxn>
                <a:cxn ang="0">
                  <a:pos x="211" y="555"/>
                </a:cxn>
                <a:cxn ang="0">
                  <a:pos x="0" y="526"/>
                </a:cxn>
                <a:cxn ang="0">
                  <a:pos x="1201" y="577"/>
                </a:cxn>
                <a:cxn ang="0">
                  <a:pos x="1353" y="396"/>
                </a:cxn>
              </a:cxnLst>
              <a:rect l="0" t="0" r="r" b="b"/>
              <a:pathLst>
                <a:path w="1496" h="888">
                  <a:moveTo>
                    <a:pt x="1353" y="396"/>
                  </a:moveTo>
                  <a:lnTo>
                    <a:pt x="1496" y="481"/>
                  </a:lnTo>
                  <a:lnTo>
                    <a:pt x="1307" y="0"/>
                  </a:lnTo>
                  <a:lnTo>
                    <a:pt x="816" y="74"/>
                  </a:lnTo>
                  <a:lnTo>
                    <a:pt x="1031" y="203"/>
                  </a:lnTo>
                  <a:cubicBezTo>
                    <a:pt x="896" y="422"/>
                    <a:pt x="605" y="491"/>
                    <a:pt x="382" y="359"/>
                  </a:cubicBezTo>
                  <a:cubicBezTo>
                    <a:pt x="356" y="343"/>
                    <a:pt x="332" y="326"/>
                    <a:pt x="309" y="306"/>
                  </a:cubicBezTo>
                  <a:lnTo>
                    <a:pt x="309" y="306"/>
                  </a:lnTo>
                  <a:lnTo>
                    <a:pt x="211" y="555"/>
                  </a:lnTo>
                  <a:lnTo>
                    <a:pt x="0" y="526"/>
                  </a:lnTo>
                  <a:cubicBezTo>
                    <a:pt x="317" y="865"/>
                    <a:pt x="855" y="888"/>
                    <a:pt x="1201" y="577"/>
                  </a:cubicBezTo>
                  <a:cubicBezTo>
                    <a:pt x="1260" y="524"/>
                    <a:pt x="1312" y="463"/>
                    <a:pt x="1353" y="396"/>
                  </a:cubicBezTo>
                  <a:close/>
                </a:path>
              </a:pathLst>
            </a:custGeom>
            <a:no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Freeform 44"/>
            <p:cNvSpPr>
              <a:spLocks noChangeAspect="1"/>
            </p:cNvSpPr>
            <p:nvPr/>
          </p:nvSpPr>
          <p:spPr bwMode="gray">
            <a:xfrm>
              <a:off x="8506599" y="1196974"/>
              <a:ext cx="974335" cy="1058158"/>
            </a:xfrm>
            <a:custGeom>
              <a:avLst/>
              <a:gdLst/>
              <a:ahLst/>
              <a:cxnLst>
                <a:cxn ang="0">
                  <a:pos x="340" y="148"/>
                </a:cxn>
                <a:cxn ang="0">
                  <a:pos x="340" y="0"/>
                </a:cxn>
                <a:cxn ang="0">
                  <a:pos x="0" y="407"/>
                </a:cxn>
                <a:cxn ang="0">
                  <a:pos x="340" y="796"/>
                </a:cxn>
                <a:cxn ang="0">
                  <a:pos x="340" y="518"/>
                </a:cxn>
                <a:cxn ang="0">
                  <a:pos x="812" y="981"/>
                </a:cxn>
                <a:cxn ang="0">
                  <a:pos x="812" y="981"/>
                </a:cxn>
                <a:cxn ang="0">
                  <a:pos x="807" y="1050"/>
                </a:cxn>
                <a:cxn ang="0">
                  <a:pos x="807" y="1050"/>
                </a:cxn>
                <a:cxn ang="0">
                  <a:pos x="1020" y="1018"/>
                </a:cxn>
                <a:cxn ang="0">
                  <a:pos x="1128" y="1293"/>
                </a:cxn>
                <a:cxn ang="0">
                  <a:pos x="1190" y="981"/>
                </a:cxn>
                <a:cxn ang="0">
                  <a:pos x="340" y="148"/>
                </a:cxn>
              </a:cxnLst>
              <a:rect l="0" t="0" r="r" b="b"/>
              <a:pathLst>
                <a:path w="1190" h="1293">
                  <a:moveTo>
                    <a:pt x="340" y="148"/>
                  </a:moveTo>
                  <a:lnTo>
                    <a:pt x="340" y="0"/>
                  </a:lnTo>
                  <a:lnTo>
                    <a:pt x="0" y="407"/>
                  </a:lnTo>
                  <a:lnTo>
                    <a:pt x="340" y="796"/>
                  </a:lnTo>
                  <a:lnTo>
                    <a:pt x="340" y="518"/>
                  </a:lnTo>
                  <a:cubicBezTo>
                    <a:pt x="601" y="518"/>
                    <a:pt x="812" y="725"/>
                    <a:pt x="812" y="981"/>
                  </a:cubicBezTo>
                  <a:cubicBezTo>
                    <a:pt x="812" y="981"/>
                    <a:pt x="812" y="981"/>
                    <a:pt x="812" y="981"/>
                  </a:cubicBezTo>
                  <a:cubicBezTo>
                    <a:pt x="812" y="1004"/>
                    <a:pt x="810" y="1027"/>
                    <a:pt x="807" y="1050"/>
                  </a:cubicBezTo>
                  <a:lnTo>
                    <a:pt x="807" y="1050"/>
                  </a:lnTo>
                  <a:lnTo>
                    <a:pt x="1020" y="1018"/>
                  </a:lnTo>
                  <a:lnTo>
                    <a:pt x="1128" y="1293"/>
                  </a:lnTo>
                  <a:cubicBezTo>
                    <a:pt x="1169" y="1194"/>
                    <a:pt x="1190" y="1088"/>
                    <a:pt x="1190" y="981"/>
                  </a:cubicBezTo>
                  <a:cubicBezTo>
                    <a:pt x="1190" y="521"/>
                    <a:pt x="809" y="148"/>
                    <a:pt x="340" y="148"/>
                  </a:cubicBezTo>
                  <a:close/>
                </a:path>
              </a:pathLst>
            </a:custGeom>
            <a:solidFill>
              <a:srgbClr val="80BEC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Freeform 45"/>
            <p:cNvSpPr>
              <a:spLocks noChangeAspect="1"/>
            </p:cNvSpPr>
            <p:nvPr/>
          </p:nvSpPr>
          <p:spPr bwMode="gray">
            <a:xfrm>
              <a:off x="8506599" y="1196974"/>
              <a:ext cx="974335" cy="1058158"/>
            </a:xfrm>
            <a:custGeom>
              <a:avLst/>
              <a:gdLst/>
              <a:ahLst/>
              <a:cxnLst>
                <a:cxn ang="0">
                  <a:pos x="340" y="148"/>
                </a:cxn>
                <a:cxn ang="0">
                  <a:pos x="340" y="0"/>
                </a:cxn>
                <a:cxn ang="0">
                  <a:pos x="0" y="407"/>
                </a:cxn>
                <a:cxn ang="0">
                  <a:pos x="340" y="796"/>
                </a:cxn>
                <a:cxn ang="0">
                  <a:pos x="340" y="518"/>
                </a:cxn>
                <a:cxn ang="0">
                  <a:pos x="812" y="981"/>
                </a:cxn>
                <a:cxn ang="0">
                  <a:pos x="812" y="981"/>
                </a:cxn>
                <a:cxn ang="0">
                  <a:pos x="807" y="1050"/>
                </a:cxn>
                <a:cxn ang="0">
                  <a:pos x="807" y="1050"/>
                </a:cxn>
                <a:cxn ang="0">
                  <a:pos x="1020" y="1018"/>
                </a:cxn>
                <a:cxn ang="0">
                  <a:pos x="1128" y="1293"/>
                </a:cxn>
                <a:cxn ang="0">
                  <a:pos x="1190" y="981"/>
                </a:cxn>
                <a:cxn ang="0">
                  <a:pos x="340" y="148"/>
                </a:cxn>
              </a:cxnLst>
              <a:rect l="0" t="0" r="r" b="b"/>
              <a:pathLst>
                <a:path w="1190" h="1293">
                  <a:moveTo>
                    <a:pt x="340" y="148"/>
                  </a:moveTo>
                  <a:lnTo>
                    <a:pt x="340" y="0"/>
                  </a:lnTo>
                  <a:lnTo>
                    <a:pt x="0" y="407"/>
                  </a:lnTo>
                  <a:lnTo>
                    <a:pt x="340" y="796"/>
                  </a:lnTo>
                  <a:lnTo>
                    <a:pt x="340" y="518"/>
                  </a:lnTo>
                  <a:cubicBezTo>
                    <a:pt x="601" y="518"/>
                    <a:pt x="812" y="725"/>
                    <a:pt x="812" y="981"/>
                  </a:cubicBezTo>
                  <a:cubicBezTo>
                    <a:pt x="812" y="981"/>
                    <a:pt x="812" y="981"/>
                    <a:pt x="812" y="981"/>
                  </a:cubicBezTo>
                  <a:cubicBezTo>
                    <a:pt x="812" y="1004"/>
                    <a:pt x="810" y="1027"/>
                    <a:pt x="807" y="1050"/>
                  </a:cubicBezTo>
                  <a:lnTo>
                    <a:pt x="807" y="1050"/>
                  </a:lnTo>
                  <a:lnTo>
                    <a:pt x="1020" y="1018"/>
                  </a:lnTo>
                  <a:lnTo>
                    <a:pt x="1128" y="1293"/>
                  </a:lnTo>
                  <a:cubicBezTo>
                    <a:pt x="1169" y="1194"/>
                    <a:pt x="1190" y="1088"/>
                    <a:pt x="1190" y="981"/>
                  </a:cubicBezTo>
                  <a:cubicBezTo>
                    <a:pt x="1190" y="521"/>
                    <a:pt x="809" y="148"/>
                    <a:pt x="340" y="148"/>
                  </a:cubicBezTo>
                  <a:close/>
                </a:path>
              </a:pathLst>
            </a:custGeom>
            <a:noFill/>
            <a:ln w="6350" cap="rnd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211454" y="3935214"/>
            <a:ext cx="5786357" cy="457200"/>
            <a:chOff x="2440054" y="3949069"/>
            <a:chExt cx="5786357" cy="457200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2440054" y="4177669"/>
              <a:ext cx="5786357" cy="0"/>
            </a:xfrm>
            <a:prstGeom prst="line">
              <a:avLst/>
            </a:prstGeom>
            <a:ln>
              <a:solidFill>
                <a:srgbClr val="747678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/>
            <p:cNvSpPr/>
            <p:nvPr/>
          </p:nvSpPr>
          <p:spPr>
            <a:xfrm>
              <a:off x="5104632" y="3949069"/>
              <a:ext cx="457200" cy="457200"/>
            </a:xfrm>
            <a:prstGeom prst="ellipse">
              <a:avLst/>
            </a:prstGeom>
            <a:solidFill>
              <a:srgbClr val="409DAD"/>
            </a:solidFill>
          </p:spPr>
          <p:txBody>
            <a:bodyPr wrap="square" lIns="0" tIns="0" rIns="0" bIns="0" anchor="ctr" anchorCtr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100" b="1" dirty="0" smtClean="0">
                  <a:ln w="0"/>
                  <a:solidFill>
                    <a:schemeClr val="bg1"/>
                  </a:solidFill>
                  <a:latin typeface="+mj-lt"/>
                </a:rPr>
                <a:t>16%</a:t>
              </a:r>
              <a:endParaRPr lang="en-US" sz="1100" b="1" dirty="0">
                <a:ln w="0"/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3212373" y="2090619"/>
            <a:ext cx="507537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3200" b="1" dirty="0">
                <a:solidFill>
                  <a:srgbClr val="007C92"/>
                </a:solidFill>
              </a:rPr>
              <a:t>&lt;</a:t>
            </a:r>
            <a:endParaRPr lang="en-US" sz="2400" b="1" dirty="0">
              <a:solidFill>
                <a:srgbClr val="007C9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525633" y="2090619"/>
            <a:ext cx="507537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sz="3200" b="1" dirty="0">
                <a:solidFill>
                  <a:srgbClr val="007C92"/>
                </a:solidFill>
              </a:rPr>
              <a:t>&lt;</a:t>
            </a:r>
            <a:endParaRPr lang="en-US" sz="2400" b="1" dirty="0">
              <a:solidFill>
                <a:srgbClr val="007C92"/>
              </a:solidFill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1845590" y="5332135"/>
            <a:ext cx="6535996" cy="457200"/>
            <a:chOff x="1621089" y="5548035"/>
            <a:chExt cx="6535996" cy="457200"/>
          </a:xfrm>
        </p:grpSpPr>
        <p:cxnSp>
          <p:nvCxnSpPr>
            <p:cNvPr id="29" name="Straight Connector 28"/>
            <p:cNvCxnSpPr/>
            <p:nvPr/>
          </p:nvCxnSpPr>
          <p:spPr>
            <a:xfrm flipV="1">
              <a:off x="1621089" y="5773199"/>
              <a:ext cx="6535996" cy="6872"/>
            </a:xfrm>
            <a:prstGeom prst="line">
              <a:avLst/>
            </a:prstGeom>
            <a:ln>
              <a:solidFill>
                <a:srgbClr val="747678"/>
              </a:solidFill>
              <a:prstDash val="sys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29"/>
            <p:cNvSpPr/>
            <p:nvPr/>
          </p:nvSpPr>
          <p:spPr>
            <a:xfrm>
              <a:off x="4660487" y="5548035"/>
              <a:ext cx="457200" cy="457200"/>
            </a:xfrm>
            <a:prstGeom prst="ellipse">
              <a:avLst/>
            </a:prstGeom>
            <a:solidFill>
              <a:srgbClr val="409DAD"/>
            </a:solidFill>
          </p:spPr>
          <p:txBody>
            <a:bodyPr wrap="square" lIns="0" tIns="0" rIns="0" bIns="0" anchor="ctr" anchorCtr="0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ru-RU" sz="1100" b="1" dirty="0">
                  <a:ln w="0"/>
                  <a:solidFill>
                    <a:schemeClr val="bg1"/>
                  </a:solidFill>
                  <a:latin typeface="+mj-lt"/>
                </a:rPr>
                <a:t>18%</a:t>
              </a:r>
              <a:endParaRPr lang="en-US" sz="1100" b="1" dirty="0">
                <a:ln w="0"/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298115" y="1292884"/>
            <a:ext cx="1292852" cy="1567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685800" y="1066800"/>
            <a:ext cx="1872466" cy="432792"/>
          </a:xfrm>
          <a:prstGeom prst="ellipse">
            <a:avLst/>
          </a:prstGeom>
          <a:solidFill>
            <a:schemeClr val="bg1"/>
          </a:solidFill>
          <a:ln>
            <a:solidFill>
              <a:srgbClr val="4066AA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b="1" dirty="0" smtClean="0">
                <a:solidFill>
                  <a:schemeClr val="accent4"/>
                </a:solidFill>
              </a:rPr>
              <a:t>Покупатель</a:t>
            </a:r>
            <a:endParaRPr lang="en-US" sz="1200" b="1" dirty="0">
              <a:solidFill>
                <a:schemeClr val="accent4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38371" y="1893593"/>
            <a:ext cx="626847" cy="877872"/>
          </a:xfrm>
          <a:prstGeom prst="rect">
            <a:avLst/>
          </a:prstGeom>
          <a:solidFill>
            <a:srgbClr val="AA5CAA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600" b="1" dirty="0" smtClean="0"/>
              <a:t>16%</a:t>
            </a:r>
            <a:endParaRPr lang="en-US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541221" y="2770519"/>
            <a:ext cx="821146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Ставка </a:t>
            </a:r>
          </a:p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кредита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cxnSp>
        <p:nvCxnSpPr>
          <p:cNvPr id="36" name="Straight Connector 35"/>
          <p:cNvCxnSpPr>
            <a:stCxn id="35" idx="2"/>
          </p:cNvCxnSpPr>
          <p:nvPr/>
        </p:nvCxnSpPr>
        <p:spPr>
          <a:xfrm>
            <a:off x="951794" y="3133695"/>
            <a:ext cx="0" cy="1690901"/>
          </a:xfrm>
          <a:prstGeom prst="line">
            <a:avLst/>
          </a:prstGeom>
          <a:ln w="12700">
            <a:solidFill>
              <a:srgbClr val="409DAD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>
            <a:off x="1148417" y="1499592"/>
            <a:ext cx="473616" cy="307048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/>
          <p:cNvSpPr/>
          <p:nvPr/>
        </p:nvSpPr>
        <p:spPr>
          <a:xfrm>
            <a:off x="1699453" y="1292884"/>
            <a:ext cx="1292852" cy="15676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2032456" y="2305765"/>
            <a:ext cx="626847" cy="465700"/>
          </a:xfrm>
          <a:prstGeom prst="rect">
            <a:avLst/>
          </a:prstGeom>
          <a:solidFill>
            <a:srgbClr val="9BCA40"/>
          </a:solidFill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600" b="1" dirty="0"/>
              <a:t>12%</a:t>
            </a:r>
            <a:endParaRPr lang="en-US" sz="16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1926619" y="2760554"/>
            <a:ext cx="822960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Ставка </a:t>
            </a:r>
          </a:p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депозита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420053" y="3942141"/>
            <a:ext cx="457200" cy="457200"/>
          </a:xfrm>
          <a:prstGeom prst="ellipse">
            <a:avLst/>
          </a:prstGeom>
          <a:solidFill>
            <a:srgbClr val="9BCA40"/>
          </a:solidFill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100" b="1">
                <a:ln w="0"/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12%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785710" y="4058996"/>
            <a:ext cx="507537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&lt;</a:t>
            </a: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4" name="Parallelogram 43"/>
          <p:cNvSpPr/>
          <p:nvPr/>
        </p:nvSpPr>
        <p:spPr>
          <a:xfrm>
            <a:off x="1239704" y="3421335"/>
            <a:ext cx="2286000" cy="437832"/>
          </a:xfrm>
          <a:prstGeom prst="parallelogram">
            <a:avLst/>
          </a:prstGeom>
          <a:solidFill>
            <a:srgbClr val="BFDEE4"/>
          </a:solidFill>
          <a:ln>
            <a:solidFill>
              <a:srgbClr val="409DAD"/>
            </a:solidFill>
          </a:ln>
        </p:spPr>
        <p:txBody>
          <a:bodyPr wrap="square" lIns="0" tIns="0" rIns="0" bIns="0" anchor="ctr" anchorCtr="0">
            <a:noAutofit/>
          </a:bodyPr>
          <a:lstStyle/>
          <a:p>
            <a:pPr marL="171450" indent="-171450">
              <a:lnSpc>
                <a:spcPct val="125000"/>
              </a:lnSpc>
              <a:spcAft>
                <a:spcPts val="600"/>
              </a:spcAft>
              <a:buClr>
                <a:schemeClr val="tx1"/>
              </a:buClr>
              <a:buSzPct val="150000"/>
              <a:buFont typeface="Arial" panose="020B0604020202020204" pitchFamily="34" charset="0"/>
              <a:buChar char="•"/>
            </a:pPr>
            <a:endParaRPr lang="en-US" sz="1000" i="1" dirty="0" smtClean="0"/>
          </a:p>
        </p:txBody>
      </p:sp>
      <p:sp>
        <p:nvSpPr>
          <p:cNvPr id="45" name="Rounded Rectangle 44"/>
          <p:cNvSpPr/>
          <p:nvPr/>
        </p:nvSpPr>
        <p:spPr>
          <a:xfrm>
            <a:off x="1325763" y="3418799"/>
            <a:ext cx="2149437" cy="4284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ctr" anchorCtr="0">
            <a:noAutofit/>
          </a:bodyPr>
          <a:lstStyle/>
          <a:p>
            <a:pPr>
              <a:lnSpc>
                <a:spcPct val="80000"/>
              </a:lnSpc>
              <a:spcAft>
                <a:spcPts val="600"/>
              </a:spcAft>
              <a:buSzPct val="150000"/>
            </a:pPr>
            <a:r>
              <a:rPr lang="ru-RU" sz="1100" b="1" dirty="0" smtClean="0">
                <a:solidFill>
                  <a:schemeClr val="accent4"/>
                </a:solidFill>
              </a:rPr>
              <a:t>Покупатели с избыточным уровнем ликвидности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cxnSp>
        <p:nvCxnSpPr>
          <p:cNvPr id="46" name="Straight Arrow Connector 45"/>
          <p:cNvCxnSpPr/>
          <p:nvPr/>
        </p:nvCxnSpPr>
        <p:spPr>
          <a:xfrm rot="10800000" flipH="1" flipV="1">
            <a:off x="1652896" y="1499592"/>
            <a:ext cx="473616" cy="307048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stCxn id="10" idx="4"/>
            <a:endCxn id="8" idx="0"/>
          </p:cNvCxnSpPr>
          <p:nvPr/>
        </p:nvCxnSpPr>
        <p:spPr>
          <a:xfrm>
            <a:off x="8441327" y="1536066"/>
            <a:ext cx="1" cy="15790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" name="Table 47"/>
          <p:cNvGraphicFramePr>
            <a:graphicFrameLocks noGrp="1"/>
          </p:cNvGraphicFramePr>
          <p:nvPr>
            <p:extLst/>
          </p:nvPr>
        </p:nvGraphicFramePr>
        <p:xfrm>
          <a:off x="4114451" y="4419600"/>
          <a:ext cx="1998274" cy="55232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99137"/>
                <a:gridCol w="999137"/>
              </a:tblGrid>
              <a:tr h="18410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Эффект на отчет о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baseline="0" dirty="0" err="1" smtClean="0"/>
                        <a:t>ПиУ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50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8410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Покупатель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Поставщик</a:t>
                      </a:r>
                      <a:endParaRPr lang="en-US" sz="1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410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%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4%</a:t>
                      </a:r>
                      <a:endParaRPr lang="en-US" sz="1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9" name="Table 48"/>
          <p:cNvGraphicFramePr>
            <a:graphicFrameLocks noGrp="1"/>
          </p:cNvGraphicFramePr>
          <p:nvPr>
            <p:extLst/>
          </p:nvPr>
        </p:nvGraphicFramePr>
        <p:xfrm>
          <a:off x="4114451" y="5817664"/>
          <a:ext cx="1998274" cy="552327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999137"/>
                <a:gridCol w="999137"/>
              </a:tblGrid>
              <a:tr h="184109"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Эффект на отчет о</a:t>
                      </a:r>
                      <a:r>
                        <a:rPr lang="ru-RU" sz="1100" baseline="0" dirty="0" smtClean="0"/>
                        <a:t> </a:t>
                      </a:r>
                      <a:r>
                        <a:rPr lang="ru-RU" sz="1100" baseline="0" dirty="0" err="1" smtClean="0"/>
                        <a:t>ПиУ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505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84109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Покупатель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Поставщик</a:t>
                      </a:r>
                      <a:endParaRPr lang="en-US" sz="1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4109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%</a:t>
                      </a:r>
                      <a:endParaRPr lang="en-US" sz="1100" dirty="0"/>
                    </a:p>
                  </a:txBody>
                  <a:tcPr marL="0" marR="0" marT="0" marB="0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/>
                        <a:t>2%</a:t>
                      </a:r>
                      <a:endParaRPr lang="en-US" sz="1100" dirty="0"/>
                    </a:p>
                  </a:txBody>
                  <a:tcPr marL="0" marR="0" marT="0" marB="0"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0" name="TextBox 49"/>
          <p:cNvSpPr txBox="1"/>
          <p:nvPr/>
        </p:nvSpPr>
        <p:spPr>
          <a:xfrm>
            <a:off x="8755855" y="5338485"/>
            <a:ext cx="457200" cy="457200"/>
          </a:xfrm>
          <a:prstGeom prst="ellipse">
            <a:avLst/>
          </a:prstGeom>
          <a:solidFill>
            <a:srgbClr val="4066AA"/>
          </a:solidFill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100" b="1">
                <a:ln w="0"/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20%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8330906" y="5458254"/>
            <a:ext cx="507537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&lt;</a:t>
            </a: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62018" y="5338485"/>
            <a:ext cx="457200" cy="457200"/>
          </a:xfrm>
          <a:prstGeom prst="ellipse">
            <a:avLst/>
          </a:prstGeom>
          <a:solidFill>
            <a:srgbClr val="AA5CAA"/>
          </a:solidFill>
        </p:spPr>
        <p:txBody>
          <a:bodyPr wrap="square" lIns="0" tIns="0" rIns="0" bIns="0" anchor="ctr" anchorCtr="0">
            <a:noAutofit/>
          </a:bodyPr>
          <a:lstStyle>
            <a:defPPr>
              <a:defRPr lang="en-US"/>
            </a:defPPr>
            <a:lvl1pPr algn="ctr">
              <a:spcAft>
                <a:spcPts val="600"/>
              </a:spcAft>
              <a:defRPr sz="1100" b="1">
                <a:ln w="0"/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1</a:t>
            </a:r>
            <a:r>
              <a:rPr lang="ru-RU" dirty="0"/>
              <a:t>6</a:t>
            </a:r>
            <a:r>
              <a:rPr lang="en-US" dirty="0"/>
              <a:t>%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427675" y="5465126"/>
            <a:ext cx="507537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&lt;</a:t>
            </a:r>
            <a:endParaRPr lang="en-US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  <p:cxnSp>
        <p:nvCxnSpPr>
          <p:cNvPr id="54" name="Straight Connector 53"/>
          <p:cNvCxnSpPr/>
          <p:nvPr/>
        </p:nvCxnSpPr>
        <p:spPr>
          <a:xfrm>
            <a:off x="2338099" y="3081286"/>
            <a:ext cx="0" cy="274320"/>
          </a:xfrm>
          <a:prstGeom prst="line">
            <a:avLst/>
          </a:prstGeom>
          <a:ln w="12700">
            <a:solidFill>
              <a:srgbClr val="409DAD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8441327" y="3133695"/>
            <a:ext cx="0" cy="274320"/>
          </a:xfrm>
          <a:prstGeom prst="line">
            <a:avLst/>
          </a:prstGeom>
          <a:ln w="12700">
            <a:solidFill>
              <a:srgbClr val="409DAD"/>
            </a:solidFill>
            <a:prstDash val="sys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4694060" y="2770519"/>
            <a:ext cx="821146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rgbClr val="118BC9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1100" b="1" dirty="0" smtClean="0">
                <a:solidFill>
                  <a:schemeClr val="accent4"/>
                </a:solidFill>
              </a:rPr>
              <a:t>Размер скидки</a:t>
            </a:r>
            <a:endParaRPr lang="en-US" sz="1100" b="1" dirty="0">
              <a:solidFill>
                <a:schemeClr val="accent4"/>
              </a:solidFill>
            </a:endParaRPr>
          </a:p>
        </p:txBody>
      </p:sp>
      <p:sp>
        <p:nvSpPr>
          <p:cNvPr id="58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>
                <a:solidFill>
                  <a:schemeClr val="bg1"/>
                </a:solidFill>
                <a:latin typeface="+mj-lt"/>
              </a:rPr>
              <a:t>Динамическое дисконтирование скидки за раннюю оплату</a:t>
            </a:r>
          </a:p>
        </p:txBody>
      </p:sp>
    </p:spTree>
    <p:extLst>
      <p:ext uri="{BB962C8B-B14F-4D97-AF65-F5344CB8AC3E}">
        <p14:creationId xmlns:p14="http://schemas.microsoft.com/office/powerpoint/2010/main" val="213030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Isosceles Triangle 35"/>
          <p:cNvSpPr/>
          <p:nvPr/>
        </p:nvSpPr>
        <p:spPr>
          <a:xfrm rot="5400000">
            <a:off x="485283" y="2695085"/>
            <a:ext cx="4572000" cy="2229832"/>
          </a:xfrm>
          <a:prstGeom prst="triangle">
            <a:avLst/>
          </a:prstGeom>
          <a:gradFill flip="none" rotWithShape="1">
            <a:gsLst>
              <a:gs pos="0">
                <a:srgbClr val="FFFFFF"/>
              </a:gs>
              <a:gs pos="100000">
                <a:srgbClr val="BFDE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1295399" y="5642982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Желаемая </a:t>
            </a:r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ставка в Платформе для Поставщика</a:t>
            </a:r>
            <a:endParaRPr lang="en-US" sz="1200" dirty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-153925" y="922216"/>
            <a:ext cx="2898647" cy="914400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1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ru-RU" sz="1600" i="0" dirty="0" smtClean="0">
                <a:solidFill>
                  <a:srgbClr val="007C92"/>
                </a:solidFill>
              </a:rPr>
              <a:t>Исходные данные</a:t>
            </a:r>
            <a:endParaRPr lang="en-US" sz="1600" i="0" dirty="0">
              <a:solidFill>
                <a:srgbClr val="007C9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1770" y="2037523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100 млн. руб.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21060" y="2754314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60 дней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21060" y="3471105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10%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21060" y="4187897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14%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221060" y="4904688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24%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21060" y="5621481"/>
            <a:ext cx="1293334" cy="79513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20%</a:t>
            </a:r>
            <a:endParaRPr lang="en-US" sz="1400" b="1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295400" y="2084186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Сумма счета</a:t>
            </a:r>
            <a:endParaRPr lang="en-US" sz="1200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295399" y="2775815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Период отсрочки платежа</a:t>
            </a:r>
            <a:endParaRPr lang="en-US" sz="1200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95399" y="3492606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Ставка по депозиту для Покупателя</a:t>
            </a:r>
            <a:endParaRPr lang="en-US" sz="1200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295399" y="4209398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Желаемая доходность в Платформе для Покупателя</a:t>
            </a:r>
            <a:endParaRPr lang="en-US" sz="1200" dirty="0" smtClean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295399" y="4926189"/>
            <a:ext cx="2361829" cy="795130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r>
              <a:rPr lang="ru-RU" sz="1200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Ставка по </a:t>
            </a:r>
            <a:r>
              <a:rPr lang="ru-RU" sz="1200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кредиту для Поставщика</a:t>
            </a:r>
            <a:endParaRPr lang="en-US" sz="1200" dirty="0">
              <a:solidFill>
                <a:schemeClr val="accent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ounded Rectangle 52"/>
          <p:cNvSpPr/>
          <p:nvPr/>
        </p:nvSpPr>
        <p:spPr>
          <a:xfrm>
            <a:off x="525726" y="5615610"/>
            <a:ext cx="3284274" cy="556591"/>
          </a:xfrm>
          <a:prstGeom prst="roundRect">
            <a:avLst/>
          </a:prstGeom>
          <a:noFill/>
          <a:ln w="22225">
            <a:solidFill>
              <a:srgbClr val="2272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548133" y="5369689"/>
            <a:ext cx="2727719" cy="322416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i="1" dirty="0" smtClean="0">
                <a:solidFill>
                  <a:srgbClr val="2272FF"/>
                </a:solidFill>
                <a:latin typeface="Arial" pitchFamily="34" charset="0"/>
                <a:cs typeface="Arial" pitchFamily="34" charset="0"/>
              </a:rPr>
              <a:t>Скидка, предлагаемая Покупателю</a:t>
            </a:r>
            <a:endParaRPr lang="en-US" sz="1200" i="1" dirty="0" smtClean="0">
              <a:solidFill>
                <a:srgbClr val="2272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657600" y="3565119"/>
            <a:ext cx="1981572" cy="521208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ru-RU" dirty="0" smtClean="0"/>
              <a:t>Дополнительная чистая прибыль </a:t>
            </a:r>
            <a:r>
              <a:rPr lang="ru-RU" dirty="0"/>
              <a:t>Покупателя</a:t>
            </a:r>
            <a:endParaRPr lang="en-US" dirty="0"/>
          </a:p>
        </p:txBody>
      </p:sp>
      <p:sp>
        <p:nvSpPr>
          <p:cNvPr id="57" name="TextBox 56"/>
          <p:cNvSpPr txBox="1"/>
          <p:nvPr/>
        </p:nvSpPr>
        <p:spPr>
          <a:xfrm>
            <a:off x="3657600" y="4757710"/>
            <a:ext cx="1981572" cy="521208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ru-RU" dirty="0" smtClean="0"/>
              <a:t>Дополнительная чистая прибыль </a:t>
            </a:r>
            <a:r>
              <a:rPr lang="ru-RU" dirty="0"/>
              <a:t>Поставщика</a:t>
            </a:r>
            <a:endParaRPr lang="en-US" dirty="0"/>
          </a:p>
        </p:txBody>
      </p:sp>
      <p:sp>
        <p:nvSpPr>
          <p:cNvPr id="67" name="TextBox 66"/>
          <p:cNvSpPr txBox="1"/>
          <p:nvPr/>
        </p:nvSpPr>
        <p:spPr>
          <a:xfrm>
            <a:off x="3353172" y="2372528"/>
            <a:ext cx="2286000" cy="521208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ru-RU" dirty="0"/>
              <a:t>Сумма скидки</a:t>
            </a:r>
            <a:endParaRPr lang="en-US" dirty="0"/>
          </a:p>
        </p:txBody>
      </p:sp>
      <p:sp>
        <p:nvSpPr>
          <p:cNvPr id="68" name="TextBox 67"/>
          <p:cNvSpPr txBox="1"/>
          <p:nvPr/>
        </p:nvSpPr>
        <p:spPr>
          <a:xfrm>
            <a:off x="4572000" y="922216"/>
            <a:ext cx="4014880" cy="914400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1">
            <a:noAutofit/>
          </a:bodyPr>
          <a:lstStyle>
            <a:defPPr>
              <a:defRPr lang="en-US"/>
            </a:defPPr>
            <a:lvl1pPr algn="ctr">
              <a:defRPr sz="1400" b="1" i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ru-RU" sz="1600" i="0" dirty="0" smtClean="0">
                <a:solidFill>
                  <a:srgbClr val="007C92"/>
                </a:solidFill>
              </a:rPr>
              <a:t>Результаты применения Платформы</a:t>
            </a:r>
            <a:endParaRPr lang="en-US" sz="1600" i="0" dirty="0">
              <a:solidFill>
                <a:srgbClr val="007C9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Box 48"/>
              <p:cNvSpPr txBox="1"/>
              <p:nvPr/>
            </p:nvSpPr>
            <p:spPr>
              <a:xfrm>
                <a:off x="6643142" y="2374715"/>
                <a:ext cx="3186658" cy="516835"/>
              </a:xfrm>
              <a:prstGeom prst="roundRect">
                <a:avLst/>
              </a:prstGeom>
              <a:solidFill>
                <a:srgbClr val="E5F2F4"/>
              </a:solidFill>
            </p:spPr>
            <p:txBody>
              <a:bodyPr wrap="none" lIns="54000" tIns="54000" rIns="54000" bIns="54000" rtlCol="0">
                <a:noAutofit/>
              </a:bodyPr>
              <a:lstStyle/>
              <a:p>
                <a:pPr defTabSz="990570" fontAlgn="b">
                  <a:defRPr/>
                </a:pPr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ru-RU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𝟐𝟎</m:t>
                      </m:r>
                      <m:r>
                        <a:rPr lang="en-US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%</m:t>
                      </m:r>
                      <m:r>
                        <a:rPr lang="en-US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f>
                        <m:fPr>
                          <m:ctrlPr>
                            <a:rPr lang="ru-RU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  <m:r>
                            <a:rPr lang="ru-RU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ru-RU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num>
                        <m:den>
                          <m:r>
                            <a:rPr lang="ru-RU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𝟔𝟎</m:t>
                          </m:r>
                          <m:r>
                            <a:rPr lang="ru-RU" sz="1200" b="1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den>
                      </m:f>
                      <m:r>
                        <a:rPr lang="en-US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𝟏𝟎𝟎</m:t>
                      </m:r>
                      <m:r>
                        <a:rPr lang="ru-RU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млн.</m:t>
                      </m:r>
                      <m:r>
                        <a:rPr lang="en-US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руб.</m:t>
                      </m:r>
                    </m:oMath>
                  </m:oMathPara>
                </a14:m>
                <a:endParaRPr lang="ru-RU" sz="1200" b="1" i="1" dirty="0">
                  <a:solidFill>
                    <a:schemeClr val="tx1"/>
                  </a:solidFill>
                  <a:latin typeface="+mj-lt"/>
                </a:endParaRPr>
              </a:p>
            </p:txBody>
          </p:sp>
        </mc:Choice>
        <mc:Fallback xmlns="">
          <p:sp>
            <p:nvSpPr>
              <p:cNvPr id="49" name="TextBox 4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3142" y="2374715"/>
                <a:ext cx="3186658" cy="516835"/>
              </a:xfrm>
              <a:prstGeom prst="roundRect">
                <a:avLst/>
              </a:prstGeom>
              <a:blipFill rotWithShape="0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TextBox 60"/>
          <p:cNvSpPr txBox="1"/>
          <p:nvPr/>
        </p:nvSpPr>
        <p:spPr>
          <a:xfrm>
            <a:off x="5825993" y="2121502"/>
            <a:ext cx="1005840" cy="1005840"/>
          </a:xfrm>
          <a:prstGeom prst="ellipse">
            <a:avLst/>
          </a:prstGeom>
          <a:solidFill>
            <a:srgbClr val="007C92"/>
          </a:solidFill>
          <a:ln w="15875">
            <a:noFill/>
          </a:ln>
        </p:spPr>
        <p:txBody>
          <a:bodyPr wrap="none" lIns="54000" tIns="54000" rIns="54000" bIns="54000" rtlCol="0" anchor="ctr" anchorCtr="1">
            <a:no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33 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</a:t>
            </a:r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лн. руб.</a:t>
            </a:r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/>
              <p:cNvSpPr txBox="1"/>
              <p:nvPr/>
            </p:nvSpPr>
            <p:spPr>
              <a:xfrm>
                <a:off x="6643142" y="3567306"/>
                <a:ext cx="3186658" cy="516835"/>
              </a:xfrm>
              <a:prstGeom prst="roundRect">
                <a:avLst/>
              </a:prstGeom>
              <a:solidFill>
                <a:srgbClr val="E5F2F4"/>
              </a:solidFill>
            </p:spPr>
            <p:txBody>
              <a:bodyPr wrap="none" lIns="54000" tIns="54000" rIns="54000" bIns="54000" rtlCol="0">
                <a:noAutofit/>
              </a:bodyPr>
              <a:lstStyle>
                <a:defPPr>
                  <a:defRPr lang="en-US"/>
                </a:defPPr>
                <a:lvl1pPr defTabSz="990570" fontAlgn="b">
                  <a:defRPr sz="1400" b="1" i="1">
                    <a:solidFill>
                      <a:schemeClr val="bg1"/>
                    </a:solidFill>
                    <a:latin typeface="Cambria Math" panose="02040503050406030204" pitchFamily="18" charset="0"/>
                  </a:defRPr>
                </a:lvl1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ru-RU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−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𝟏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</m:t>
                          </m:r>
                        </m:e>
                      </m:d>
                      <m:r>
                        <a:rPr lang="ru-RU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f>
                        <m:fPr>
                          <m:ctrlPr>
                            <a:rPr lang="ru-RU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num>
                        <m:den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𝟔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den>
                      </m:f>
                      <m:r>
                        <a:rPr lang="ru-RU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𝟏𝟎𝟎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ru-RU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млн.  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руб.</m:t>
                      </m:r>
                    </m:oMath>
                  </m:oMathPara>
                </a14:m>
                <a:endParaRPr lang="ru-RU" sz="1200" dirty="0">
                  <a:solidFill>
                    <a:schemeClr val="tx1"/>
                  </a:solidFill>
                </a:endParaRPr>
              </a:p>
              <a:p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0" name="TextBox 4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3142" y="3567306"/>
                <a:ext cx="3186658" cy="516835"/>
              </a:xfrm>
              <a:prstGeom prst="roundRect">
                <a:avLst/>
              </a:prstGeom>
              <a:blipFill rotWithShape="0"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2" name="TextBox 61"/>
          <p:cNvSpPr txBox="1"/>
          <p:nvPr/>
        </p:nvSpPr>
        <p:spPr>
          <a:xfrm>
            <a:off x="5825993" y="3314093"/>
            <a:ext cx="1005840" cy="1005840"/>
          </a:xfrm>
          <a:prstGeom prst="ellipse">
            <a:avLst/>
          </a:prstGeom>
          <a:solidFill>
            <a:srgbClr val="007C92"/>
          </a:solidFill>
          <a:ln w="15875">
            <a:noFill/>
          </a:ln>
        </p:spPr>
        <p:txBody>
          <a:bodyPr wrap="none" lIns="54000" tIns="54000" rIns="54000" bIns="54000" rtlCol="0" anchor="ctr" anchorCtr="1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400" dirty="0">
                <a:solidFill>
                  <a:schemeClr val="bg1"/>
                </a:solidFill>
              </a:rPr>
              <a:t>1.66 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ru-RU" sz="1400" dirty="0">
                <a:solidFill>
                  <a:schemeClr val="bg1"/>
                </a:solidFill>
              </a:rPr>
              <a:t>м</a:t>
            </a:r>
            <a:r>
              <a:rPr lang="ru-RU" sz="1400" dirty="0" smtClean="0">
                <a:solidFill>
                  <a:schemeClr val="bg1"/>
                </a:solidFill>
              </a:rPr>
              <a:t>лн. руб.</a:t>
            </a:r>
            <a:endParaRPr lang="en-US" sz="1400" dirty="0">
              <a:solidFill>
                <a:schemeClr val="bg1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/>
              <p:cNvSpPr txBox="1"/>
              <p:nvPr/>
            </p:nvSpPr>
            <p:spPr>
              <a:xfrm>
                <a:off x="6643142" y="4759897"/>
                <a:ext cx="3186658" cy="516835"/>
              </a:xfrm>
              <a:prstGeom prst="roundRect">
                <a:avLst/>
              </a:prstGeom>
              <a:solidFill>
                <a:srgbClr val="E5F2F4"/>
              </a:solidFill>
            </p:spPr>
            <p:txBody>
              <a:bodyPr wrap="none" lIns="54000" tIns="54000" rIns="54000" bIns="54000" rtlCol="0">
                <a:noAutofit/>
              </a:bodyPr>
              <a:lstStyle>
                <a:defPPr>
                  <a:defRPr lang="en-US"/>
                </a:defPPr>
                <a:lvl1pPr defTabSz="990570" fontAlgn="b">
                  <a:defRPr sz="1400" b="1" i="1">
                    <a:solidFill>
                      <a:schemeClr val="bg1"/>
                    </a:solidFill>
                    <a:latin typeface="Cambria Math" panose="02040503050406030204" pitchFamily="18" charset="0"/>
                  </a:defRPr>
                </a:lvl1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ru-RU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𝟒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−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𝟐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%</m:t>
                          </m:r>
                        </m:e>
                      </m:d>
                      <m:r>
                        <a:rPr lang="ru-RU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f>
                        <m:fPr>
                          <m:ctrlPr>
                            <a:rPr lang="ru-RU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𝟔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num>
                        <m:den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𝟑𝟔𝟎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дн.</m:t>
                          </m:r>
                        </m:den>
                      </m:f>
                      <m:r>
                        <a:rPr lang="ru-RU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𝟏𝟎𝟎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ru-RU" sz="1200" b="1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млн. </m:t>
                      </m:r>
                      <m:r>
                        <a:rPr lang="en-US" sz="120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руб.</m:t>
                      </m:r>
                    </m:oMath>
                  </m:oMathPara>
                </a14:m>
                <a:endParaRPr lang="ru-RU" sz="1200" dirty="0">
                  <a:solidFill>
                    <a:schemeClr val="tx1"/>
                  </a:solidFill>
                </a:endParaRPr>
              </a:p>
              <a:p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3142" y="4759897"/>
                <a:ext cx="3186658" cy="516835"/>
              </a:xfrm>
              <a:prstGeom prst="roundRect">
                <a:avLst/>
              </a:prstGeom>
              <a:blipFill rotWithShape="0"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3" name="TextBox 62"/>
          <p:cNvSpPr txBox="1"/>
          <p:nvPr/>
        </p:nvSpPr>
        <p:spPr>
          <a:xfrm>
            <a:off x="5825993" y="4506684"/>
            <a:ext cx="1005840" cy="1005840"/>
          </a:xfrm>
          <a:prstGeom prst="ellipse">
            <a:avLst/>
          </a:prstGeom>
          <a:solidFill>
            <a:srgbClr val="007C92"/>
          </a:solidFill>
          <a:ln w="15875">
            <a:noFill/>
          </a:ln>
        </p:spPr>
        <p:txBody>
          <a:bodyPr wrap="none" lIns="54000" tIns="54000" rIns="54000" bIns="54000" rtlCol="0" anchor="ctr" anchorCtr="1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accent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1400" dirty="0" smtClean="0">
                <a:solidFill>
                  <a:schemeClr val="bg1"/>
                </a:solidFill>
              </a:rPr>
              <a:t>0.66</a:t>
            </a:r>
            <a:endParaRPr lang="en-US" sz="1400" dirty="0">
              <a:solidFill>
                <a:schemeClr val="bg1"/>
              </a:solidFill>
            </a:endParaRPr>
          </a:p>
          <a:p>
            <a:r>
              <a:rPr lang="ru-RU" sz="1400" dirty="0">
                <a:solidFill>
                  <a:schemeClr val="bg1"/>
                </a:solidFill>
              </a:rPr>
              <a:t>м</a:t>
            </a:r>
            <a:r>
              <a:rPr lang="ru-RU" sz="1400" dirty="0" smtClean="0">
                <a:solidFill>
                  <a:schemeClr val="bg1"/>
                </a:solidFill>
              </a:rPr>
              <a:t>лн. руб.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>
                <a:solidFill>
                  <a:schemeClr val="bg1"/>
                </a:solidFill>
                <a:latin typeface="+mj-lt"/>
              </a:rPr>
              <a:t>Бизнес-кейс: пример сделки</a:t>
            </a:r>
          </a:p>
        </p:txBody>
      </p:sp>
    </p:spTree>
    <p:extLst>
      <p:ext uri="{BB962C8B-B14F-4D97-AF65-F5344CB8AC3E}">
        <p14:creationId xmlns:p14="http://schemas.microsoft.com/office/powerpoint/2010/main" val="329166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</a:t>
            </a:r>
            <a:r>
              <a:rPr lang="ru-RU" dirty="0" smtClean="0"/>
              <a:t>. Резюме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17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01653" y="2764312"/>
            <a:ext cx="1779322" cy="2934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554"/>
              </a:spcBef>
            </a:pPr>
            <a:r>
              <a:rPr lang="ru-RU" sz="1108" b="1" dirty="0">
                <a:solidFill>
                  <a:srgbClr val="00338D"/>
                </a:solidFill>
                <a:latin typeface="Arial" pitchFamily="34" charset="0"/>
                <a:cs typeface="Arial" pitchFamily="34" charset="0"/>
              </a:rPr>
              <a:t>Роман Малюга</a:t>
            </a:r>
            <a:endParaRPr lang="en-GB" sz="1108" b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  <a:p>
            <a:pPr marL="0" lvl="1">
              <a:spcBef>
                <a:spcPts val="554"/>
              </a:spcBef>
            </a:pPr>
            <a:r>
              <a:rPr lang="ru-RU" sz="831" i="1" dirty="0">
                <a:latin typeface="Arial" pitchFamily="34" charset="0"/>
                <a:cs typeface="Arial" pitchFamily="34" charset="0"/>
              </a:rPr>
              <a:t>Партнер</a:t>
            </a:r>
          </a:p>
          <a:p>
            <a:pPr marL="0" lvl="1">
              <a:spcBef>
                <a:spcPts val="554"/>
              </a:spcBef>
            </a:pPr>
            <a:r>
              <a:rPr lang="ru-RU" sz="831" i="1" dirty="0">
                <a:latin typeface="Arial" pitchFamily="34" charset="0"/>
                <a:cs typeface="Arial" pitchFamily="34" charset="0"/>
              </a:rPr>
              <a:t>Группа управления финансами и казначейством КПМГ в России и СНГ</a:t>
            </a:r>
            <a:endParaRPr lang="ru-RU" sz="831" dirty="0">
              <a:latin typeface="Arial" charset="0"/>
              <a:cs typeface="Arial" charset="0"/>
            </a:endParaRPr>
          </a:p>
          <a:p>
            <a:pPr>
              <a:spcBef>
                <a:spcPts val="554"/>
              </a:spcBef>
              <a:tabLst>
                <a:tab pos="274034" algn="l"/>
              </a:tabLst>
            </a:pPr>
            <a:r>
              <a:rPr lang="ru-RU" sz="831" i="1" dirty="0">
                <a:solidFill>
                  <a:srgbClr val="00338D"/>
                </a:solidFill>
                <a:latin typeface="Arial" pitchFamily="34" charset="0"/>
                <a:cs typeface="Arial" pitchFamily="34" charset="0"/>
              </a:rPr>
              <a:t>Специализация</a:t>
            </a:r>
            <a:endParaRPr lang="en-US" sz="831" i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  <a:p>
            <a:pPr marL="0" lvl="2">
              <a:spcBef>
                <a:spcPts val="554"/>
              </a:spcBef>
              <a:spcAft>
                <a:spcPts val="554"/>
              </a:spcAft>
              <a:tabLst>
                <a:tab pos="274034" algn="l"/>
              </a:tabLst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Корпоративное казначейство, финансовый риск-менеджмент, управление денежными средствами</a:t>
            </a:r>
            <a:endParaRPr lang="ru-RU" sz="831" b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554"/>
              </a:spcBef>
              <a:tabLst>
                <a:tab pos="274034" algn="l"/>
              </a:tabLst>
            </a:pPr>
            <a:r>
              <a:rPr lang="ru-RU" sz="831" i="1" dirty="0">
                <a:solidFill>
                  <a:srgbClr val="00338D"/>
                </a:solidFill>
                <a:latin typeface="Arial" pitchFamily="34" charset="0"/>
                <a:cs typeface="Arial" pitchFamily="34" charset="0"/>
              </a:rPr>
              <a:t>Владение языками</a:t>
            </a:r>
            <a:endParaRPr lang="en-US" sz="831" i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  <a:p>
            <a:pPr marL="167058" lvl="1" indent="-165593">
              <a:spcBef>
                <a:spcPts val="554"/>
              </a:spcBef>
              <a:buClr>
                <a:srgbClr val="4066AA"/>
              </a:buClr>
              <a:tabLst>
                <a:tab pos="274034" algn="l"/>
              </a:tabLst>
            </a:pPr>
            <a:r>
              <a:rPr lang="ru-RU" sz="831" dirty="0">
                <a:latin typeface="Arial" pitchFamily="34" charset="0"/>
              </a:rPr>
              <a:t>Русский</a:t>
            </a:r>
          </a:p>
          <a:p>
            <a:pPr marL="167058" lvl="1" indent="-165593">
              <a:spcBef>
                <a:spcPts val="554"/>
              </a:spcBef>
              <a:buClr>
                <a:srgbClr val="4066AA"/>
              </a:buClr>
              <a:tabLst>
                <a:tab pos="274034" algn="l"/>
              </a:tabLst>
            </a:pPr>
            <a:r>
              <a:rPr lang="ru-RU" sz="831" dirty="0">
                <a:latin typeface="Arial" pitchFamily="34" charset="0"/>
              </a:rPr>
              <a:t>Английский</a:t>
            </a:r>
            <a:endParaRPr lang="en-US" sz="831" dirty="0">
              <a:latin typeface="Arial" pitchFamily="34" charset="0"/>
              <a:cs typeface="Arial" pitchFamily="34" charset="0"/>
            </a:endParaRPr>
          </a:p>
          <a:p>
            <a:pPr marL="167058" lvl="1" indent="-165593">
              <a:spcBef>
                <a:spcPts val="554"/>
              </a:spcBef>
              <a:buClr>
                <a:srgbClr val="4066AA"/>
              </a:buClr>
              <a:tabLst>
                <a:tab pos="274034" algn="l"/>
              </a:tabLst>
            </a:pPr>
            <a:endParaRPr lang="en-US" sz="831" dirty="0">
              <a:latin typeface="Arial" pitchFamily="34" charset="0"/>
              <a:cs typeface="Arial" pitchFamily="34" charset="0"/>
            </a:endParaRPr>
          </a:p>
          <a:p>
            <a:pPr marL="167058" lvl="1" indent="-165593">
              <a:spcBef>
                <a:spcPts val="554"/>
              </a:spcBef>
              <a:buClr>
                <a:srgbClr val="4066AA"/>
              </a:buClr>
              <a:tabLst>
                <a:tab pos="274034" algn="l"/>
              </a:tabLst>
            </a:pPr>
            <a:endParaRPr lang="en-US" sz="831" dirty="0">
              <a:latin typeface="Arial" pitchFamily="34" charset="0"/>
            </a:endParaRPr>
          </a:p>
          <a:p>
            <a:pPr>
              <a:spcBef>
                <a:spcPts val="554"/>
              </a:spcBef>
              <a:tabLst>
                <a:tab pos="274034" algn="l"/>
              </a:tabLst>
            </a:pPr>
            <a:endParaRPr lang="en-US" sz="83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8"/>
          <p:cNvSpPr txBox="1">
            <a:spLocks noChangeArrowheads="1"/>
          </p:cNvSpPr>
          <p:nvPr/>
        </p:nvSpPr>
        <p:spPr bwMode="gray">
          <a:xfrm>
            <a:off x="2836601" y="1301995"/>
            <a:ext cx="6636286" cy="4163753"/>
          </a:xfrm>
          <a:prstGeom prst="rect">
            <a:avLst/>
          </a:prstGeom>
        </p:spPr>
        <p:txBody>
          <a:bodyPr lIns="0" tIns="0" rIns="0" bIns="0"/>
          <a:lstStyle/>
          <a:p>
            <a:pPr marL="0" lvl="1" algn="just">
              <a:spcBef>
                <a:spcPts val="1108"/>
              </a:spcBef>
              <a:spcAft>
                <a:spcPts val="277"/>
              </a:spcAft>
            </a:pPr>
            <a:r>
              <a:rPr lang="ru-RU" altLang="ja-JP" sz="831" b="1" dirty="0">
                <a:solidFill>
                  <a:srgbClr val="00338D"/>
                </a:solidFill>
                <a:latin typeface="Arial"/>
                <a:cs typeface="Arial" pitchFamily="34" charset="0"/>
              </a:rPr>
              <a:t>Общая информация</a:t>
            </a:r>
            <a:endParaRPr lang="en-US" altLang="ja-JP" sz="831" b="1" dirty="0">
              <a:solidFill>
                <a:srgbClr val="00338D"/>
              </a:solidFill>
              <a:latin typeface="Arial"/>
              <a:cs typeface="Arial" pitchFamily="34" charset="0"/>
            </a:endParaRPr>
          </a:p>
          <a:p>
            <a:pPr marL="0" lvl="2">
              <a:buClr>
                <a:srgbClr val="97989A"/>
              </a:buClr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оман с 2006 года работает в КПМГ и возглавляет практику «Управление финансами и казначейством». До прихода в КПМГ его опыт включал в себя работу в крупнейших российских и международных банках. Опыт Романа в КПМГ включает в себя ряд проектов для крупнейших российских компаний в области управления казначейскими операциями и прогнозирования денежных потоков, казначейских ИТ-систем и управления финансовыми рисками. </a:t>
            </a:r>
          </a:p>
          <a:p>
            <a:pPr marL="0" lvl="2">
              <a:buClr>
                <a:srgbClr val="97989A"/>
              </a:buClr>
              <a:defRPr/>
            </a:pPr>
            <a:endParaRPr lang="ru-RU" sz="831" b="1" dirty="0">
              <a:solidFill>
                <a:srgbClr val="00338D"/>
              </a:solidFill>
              <a:latin typeface="Arial"/>
              <a:cs typeface="Arial" pitchFamily="34" charset="0"/>
            </a:endParaRPr>
          </a:p>
          <a:p>
            <a:pPr marL="0" lvl="2">
              <a:buClr>
                <a:srgbClr val="97989A"/>
              </a:buClr>
              <a:defRPr/>
            </a:pPr>
            <a:r>
              <a:rPr lang="ru-RU" sz="831" b="1" dirty="0">
                <a:solidFill>
                  <a:srgbClr val="00338D"/>
                </a:solidFill>
                <a:latin typeface="Arial"/>
                <a:cs typeface="Arial" pitchFamily="34" charset="0"/>
              </a:rPr>
              <a:t>Профессиональный опыт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Создание прототипа и разработка требований для внедрения централизованной системы управления товарно-сырьевыми и финансовыми рисками ВИНК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азработка политики управления рисками, хеджирования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азработка глобальной системы концентрации денежных средств для крупнейшего нефтегазового холдинга, включая анализ налоговой эффективности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азработка системы мониторинга ликвидности и глобальной концентрации денежных средств в рамках реструктуризации долга крупнейшего российского холдинга цветной металлургии перед пулом кредиторов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уководство 4-х летней программой централизации казначейских функций Фонда государственных активов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уководство 4-х летней программой реорганизации казначейских функций крупной нефтяной компании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уководство проектом по внедрению SAP Treasury в централизованном казначействе крупнейшей российской нефтяной компании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Выбор глобальной казначейской системы для крупнейшего нефтегазового холдинга.</a:t>
            </a:r>
          </a:p>
          <a:p>
            <a:pPr marL="167058" lvl="1" indent="-165593" eaLnBrk="0" fontAlgn="base" hangingPunct="0"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Формирование функциональных, технических и проектных требований для внедрения единой казначейской информационно-технологической платформы на базе решений SAP для центрального казначейства крупнейшей нефтяной компании в России, а также ряд других проектов в области оптимизации казначейских функций крупнейших компаний России и СНГ.</a:t>
            </a:r>
          </a:p>
          <a:p>
            <a:pPr marL="0" lvl="1" algn="just">
              <a:spcBef>
                <a:spcPts val="1108"/>
              </a:spcBef>
              <a:spcAft>
                <a:spcPts val="277"/>
              </a:spcAft>
            </a:pPr>
            <a:r>
              <a:rPr lang="ru-RU" sz="831" b="1" dirty="0">
                <a:solidFill>
                  <a:srgbClr val="00338D"/>
                </a:solidFill>
                <a:cs typeface="Arial" pitchFamily="34" charset="0"/>
              </a:rPr>
              <a:t>Образование, лицензии и сертификаты</a:t>
            </a:r>
            <a:endParaRPr lang="en-US" sz="831" b="1" dirty="0">
              <a:solidFill>
                <a:srgbClr val="00338D"/>
              </a:solidFill>
              <a:cs typeface="Arial" pitchFamily="34" charset="0"/>
            </a:endParaRPr>
          </a:p>
          <a:p>
            <a:pPr marL="167058" lvl="1" indent="-165593" eaLnBrk="0" fontAlgn="base" hangingPunct="0">
              <a:spcBef>
                <a:spcPts val="92"/>
              </a:spcBef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Диплом в области международных поставок и торговли нефтью и нефтепродуктами, College of Petroleum and Energy Studies, Oxford</a:t>
            </a:r>
          </a:p>
          <a:p>
            <a:pPr marL="167058" lvl="1" indent="-165593" eaLnBrk="0" fontAlgn="base" hangingPunct="0">
              <a:spcBef>
                <a:spcPts val="92"/>
              </a:spcBef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Диплом бакалавра «Финансы и кредит» Московский государственный университет экономики, статистики и информатики</a:t>
            </a:r>
          </a:p>
          <a:p>
            <a:pPr marL="167058" lvl="1" indent="-165593" eaLnBrk="0" fontAlgn="base" hangingPunct="0">
              <a:spcBef>
                <a:spcPts val="92"/>
              </a:spcBef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Ряд тренингов и сертификатов в области проектного управления</a:t>
            </a:r>
          </a:p>
          <a:p>
            <a:pPr marL="167058" lvl="1" indent="-165593" eaLnBrk="0" fontAlgn="base" hangingPunct="0">
              <a:spcBef>
                <a:spcPts val="92"/>
              </a:spcBef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r>
              <a:rPr lang="ru-RU" sz="831" dirty="0">
                <a:solidFill>
                  <a:srgbClr val="000000"/>
                </a:solidFill>
                <a:cs typeface="Arial" pitchFamily="34" charset="0"/>
              </a:rPr>
              <a:t>Сертифицированный специалист по SAP Treasury and risk management.</a:t>
            </a:r>
            <a:endParaRPr lang="en-US" sz="831" dirty="0">
              <a:solidFill>
                <a:srgbClr val="000000"/>
              </a:solidFill>
              <a:cs typeface="Arial" pitchFamily="34" charset="0"/>
            </a:endParaRPr>
          </a:p>
          <a:p>
            <a:pPr marL="167058" lvl="1" indent="-165593" eaLnBrk="0" fontAlgn="base" hangingPunct="0">
              <a:spcBef>
                <a:spcPts val="92"/>
              </a:spcBef>
              <a:spcAft>
                <a:spcPts val="92"/>
              </a:spcAft>
              <a:buClr>
                <a:srgbClr val="00338D"/>
              </a:buClr>
              <a:buSzPct val="100000"/>
              <a:buFont typeface="Arial" panose="020B0604020202020204" pitchFamily="34" charset="0"/>
              <a:buChar char="■"/>
              <a:defRPr/>
            </a:pPr>
            <a:endParaRPr lang="en-US" sz="83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Line 9"/>
          <p:cNvSpPr>
            <a:spLocks noChangeShapeType="1"/>
          </p:cNvSpPr>
          <p:nvPr/>
        </p:nvSpPr>
        <p:spPr bwMode="auto">
          <a:xfrm>
            <a:off x="2626588" y="1368469"/>
            <a:ext cx="0" cy="4292111"/>
          </a:xfrm>
          <a:prstGeom prst="line">
            <a:avLst/>
          </a:prstGeom>
          <a:noFill/>
          <a:ln w="6350">
            <a:solidFill>
              <a:srgbClr val="A4C0DC"/>
            </a:solidFill>
            <a:round/>
            <a:headEnd/>
            <a:tailEnd/>
          </a:ln>
        </p:spPr>
        <p:txBody>
          <a:bodyPr anchor="ctr"/>
          <a:lstStyle/>
          <a:p>
            <a:endParaRPr lang="en-US" sz="1662" dirty="0"/>
          </a:p>
        </p:txBody>
      </p:sp>
      <p:sp>
        <p:nvSpPr>
          <p:cNvPr id="11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 smtClean="0">
                <a:solidFill>
                  <a:schemeClr val="bg1"/>
                </a:solidFill>
                <a:latin typeface="+mj-lt"/>
              </a:rPr>
              <a:t>Роман </a:t>
            </a:r>
            <a:r>
              <a:rPr lang="ru-RU" sz="1480" dirty="0">
                <a:solidFill>
                  <a:schemeClr val="bg1"/>
                </a:solidFill>
                <a:latin typeface="+mj-lt"/>
              </a:rPr>
              <a:t>Малюга</a:t>
            </a:r>
            <a:endParaRPr lang="en-US" sz="148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761" y="1362819"/>
            <a:ext cx="909328" cy="1335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072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 txBox="1">
            <a:spLocks/>
          </p:cNvSpPr>
          <p:nvPr/>
        </p:nvSpPr>
        <p:spPr>
          <a:xfrm>
            <a:off x="235664" y="1143861"/>
            <a:ext cx="3312368" cy="1943892"/>
          </a:xfrm>
          <a:prstGeom prst="rect">
            <a:avLst/>
          </a:prstGeom>
        </p:spPr>
        <p:txBody>
          <a:bodyPr/>
          <a:lstStyle/>
          <a:p>
            <a:pPr defTabSz="91404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800" b="1" kern="0" dirty="0" smtClean="0">
                <a:solidFill>
                  <a:prstClr val="white"/>
                </a:solidFill>
                <a:latin typeface="Univers for KPMG" pitchFamily="34" charset="0"/>
              </a:rPr>
              <a:t>Наши контакты</a:t>
            </a:r>
            <a:r>
              <a:rPr lang="en-US" sz="2800" b="1" kern="0" dirty="0" smtClean="0">
                <a:solidFill>
                  <a:prstClr val="white"/>
                </a:solidFill>
                <a:latin typeface="Univers for KPMG" pitchFamily="34" charset="0"/>
              </a:rPr>
              <a:t>:</a:t>
            </a:r>
            <a:endParaRPr lang="en-US" sz="2800" b="1" kern="0" dirty="0">
              <a:solidFill>
                <a:prstClr val="white"/>
              </a:solidFill>
              <a:latin typeface="Univers for KPMG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76482" y="1590734"/>
            <a:ext cx="4055488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r>
              <a:rPr lang="ru-RU" sz="1000" b="1" dirty="0" smtClean="0">
                <a:solidFill>
                  <a:prstClr val="white"/>
                </a:solidFill>
                <a:latin typeface="Arial"/>
              </a:rPr>
              <a:t>КПМГ в России и СНГ</a:t>
            </a:r>
            <a:endParaRPr lang="en-US" sz="1000" b="1" dirty="0" smtClean="0">
              <a:solidFill>
                <a:prstClr val="white"/>
              </a:solidFill>
              <a:latin typeface="Arial"/>
            </a:endParaRP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r>
              <a:rPr lang="ru-RU" sz="1000" b="1" dirty="0" smtClean="0">
                <a:solidFill>
                  <a:prstClr val="white"/>
                </a:solidFill>
                <a:latin typeface="Arial"/>
              </a:rPr>
              <a:t>Московский офис</a:t>
            </a:r>
            <a:endParaRPr lang="en-GB" sz="1000" b="1" dirty="0" smtClean="0">
              <a:solidFill>
                <a:prstClr val="white"/>
              </a:solidFill>
              <a:latin typeface="Arial"/>
            </a:endParaRPr>
          </a:p>
          <a:p>
            <a:pPr defTabSz="762000">
              <a:buClr>
                <a:srgbClr val="415299"/>
              </a:buClr>
              <a:buSzPct val="125000"/>
            </a:pPr>
            <a:r>
              <a:rPr lang="ru-RU" sz="1000" dirty="0" smtClean="0">
                <a:solidFill>
                  <a:prstClr val="white"/>
                </a:solidFill>
                <a:latin typeface="Arial"/>
              </a:rPr>
              <a:t>Пресненская набережная, 10</a:t>
            </a:r>
          </a:p>
          <a:p>
            <a:pPr defTabSz="762000">
              <a:buClr>
                <a:srgbClr val="415299"/>
              </a:buClr>
              <a:buSzPct val="125000"/>
            </a:pPr>
            <a:r>
              <a:rPr lang="ru-RU" sz="1000" dirty="0" smtClean="0">
                <a:solidFill>
                  <a:prstClr val="white"/>
                </a:solidFill>
                <a:latin typeface="Arial"/>
              </a:rPr>
              <a:t>Блок С</a:t>
            </a:r>
            <a:endParaRPr lang="en-US" sz="1000" dirty="0" smtClean="0">
              <a:solidFill>
                <a:prstClr val="white"/>
              </a:solidFill>
              <a:latin typeface="Arial"/>
            </a:endParaRPr>
          </a:p>
          <a:p>
            <a:pPr defTabSz="762000">
              <a:buClr>
                <a:srgbClr val="415299"/>
              </a:buClr>
              <a:buSzPct val="125000"/>
            </a:pPr>
            <a:r>
              <a:rPr lang="ru-RU" sz="1000" dirty="0" smtClean="0">
                <a:solidFill>
                  <a:prstClr val="white"/>
                </a:solidFill>
                <a:latin typeface="Arial"/>
              </a:rPr>
              <a:t>Москва. Россия</a:t>
            </a:r>
            <a:r>
              <a:rPr lang="en-US" sz="1000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123317</a:t>
            </a: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endParaRPr lang="en-GB" sz="1000" dirty="0" smtClean="0">
              <a:solidFill>
                <a:prstClr val="white"/>
              </a:solidFill>
              <a:latin typeface="Arial"/>
            </a:endParaRP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r>
              <a:rPr lang="ru-RU" sz="1000" b="1" dirty="0" smtClean="0">
                <a:solidFill>
                  <a:prstClr val="white"/>
                </a:solidFill>
                <a:latin typeface="Arial"/>
              </a:rPr>
              <a:t>Телефон:</a:t>
            </a:r>
            <a:r>
              <a:rPr lang="en-GB" sz="1000" b="1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+7 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(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495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)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 937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-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44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-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77</a:t>
            </a: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r>
              <a:rPr lang="ru-RU" sz="1000" b="1" dirty="0" smtClean="0">
                <a:solidFill>
                  <a:prstClr val="white"/>
                </a:solidFill>
                <a:latin typeface="Arial"/>
              </a:rPr>
              <a:t>Факс:</a:t>
            </a:r>
            <a:r>
              <a:rPr lang="en-GB" sz="1000" b="1" dirty="0" smtClean="0">
                <a:solidFill>
                  <a:prstClr val="white"/>
                </a:solidFill>
                <a:latin typeface="Arial"/>
              </a:rPr>
              <a:t> 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+7 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(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495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)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 937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-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44</a:t>
            </a:r>
            <a:r>
              <a:rPr lang="ru-RU" sz="1000" dirty="0" smtClean="0">
                <a:solidFill>
                  <a:prstClr val="white"/>
                </a:solidFill>
                <a:latin typeface="Arial"/>
              </a:rPr>
              <a:t>-</a:t>
            </a:r>
            <a:r>
              <a:rPr lang="en-GB" sz="1000" dirty="0" smtClean="0">
                <a:solidFill>
                  <a:prstClr val="white"/>
                </a:solidFill>
                <a:latin typeface="Arial"/>
              </a:rPr>
              <a:t>99</a:t>
            </a: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r>
              <a:rPr lang="en-GB" sz="1000" b="1" dirty="0">
                <a:solidFill>
                  <a:prstClr val="white"/>
                </a:solidFill>
              </a:rPr>
              <a:t>E-mail</a:t>
            </a:r>
            <a:r>
              <a:rPr lang="en-GB" sz="1000" b="1" dirty="0" smtClean="0">
                <a:solidFill>
                  <a:prstClr val="white"/>
                </a:solidFill>
              </a:rPr>
              <a:t>: </a:t>
            </a:r>
            <a:r>
              <a:rPr lang="en-GB" sz="1000" u="sng" dirty="0" smtClean="0">
                <a:solidFill>
                  <a:prstClr val="white"/>
                </a:solidFill>
              </a:rPr>
              <a:t>moscow@kpmg.ru</a:t>
            </a:r>
            <a:endParaRPr lang="en-GB" sz="1000" u="sng" dirty="0">
              <a:solidFill>
                <a:prstClr val="white"/>
              </a:solidFill>
            </a:endParaRPr>
          </a:p>
          <a:p>
            <a:pPr defTabSz="762000">
              <a:spcBef>
                <a:spcPct val="25000"/>
              </a:spcBef>
              <a:buClr>
                <a:srgbClr val="415299"/>
              </a:buClr>
              <a:buSzPct val="125000"/>
            </a:pPr>
            <a:endParaRPr lang="en-GB" sz="100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6549297" y="909990"/>
            <a:ext cx="2924622" cy="1604610"/>
            <a:chOff x="4860034" y="4628316"/>
            <a:chExt cx="2924622" cy="1604610"/>
          </a:xfrm>
        </p:grpSpPr>
        <p:grpSp>
          <p:nvGrpSpPr>
            <p:cNvPr id="12" name="Group 11"/>
            <p:cNvGrpSpPr/>
            <p:nvPr/>
          </p:nvGrpSpPr>
          <p:grpSpPr>
            <a:xfrm>
              <a:off x="4860034" y="4628316"/>
              <a:ext cx="2883804" cy="1604610"/>
              <a:chOff x="5711742" y="1844900"/>
              <a:chExt cx="2665458" cy="1483118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" name="Rectangle 13"/>
              <p:cNvSpPr/>
              <p:nvPr/>
            </p:nvSpPr>
            <p:spPr>
              <a:xfrm>
                <a:off x="5711742" y="1844900"/>
                <a:ext cx="2665458" cy="1483118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95000"/>
                    </a:schemeClr>
                  </a:gs>
                  <a:gs pos="57000">
                    <a:schemeClr val="bg1"/>
                  </a:gs>
                </a:gsLst>
                <a:lin ang="270000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5855651" y="1948197"/>
                <a:ext cx="472500" cy="191250"/>
              </a:xfrm>
              <a:prstGeom prst="rect">
                <a:avLst/>
              </a:prstGeom>
            </p:spPr>
          </p:pic>
        </p:grpSp>
        <p:sp>
          <p:nvSpPr>
            <p:cNvPr id="13" name="Rectangle 12"/>
            <p:cNvSpPr/>
            <p:nvPr/>
          </p:nvSpPr>
          <p:spPr>
            <a:xfrm>
              <a:off x="5422665" y="4957357"/>
              <a:ext cx="2361991" cy="123880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tabLst>
                  <a:tab pos="361950" algn="l"/>
                </a:tabLst>
              </a:pPr>
              <a:r>
                <a:rPr lang="ru-RU" sz="1200" b="1" dirty="0">
                  <a:solidFill>
                    <a:srgbClr val="00338D"/>
                  </a:solidFill>
                </a:rPr>
                <a:t>Роман Малюга</a:t>
              </a:r>
            </a:p>
            <a:p>
              <a:pPr>
                <a:tabLst>
                  <a:tab pos="361950" algn="l"/>
                </a:tabLst>
              </a:pPr>
              <a:r>
                <a:rPr lang="ru-RU" sz="1000" dirty="0" smtClean="0"/>
                <a:t>Партнер, </a:t>
              </a:r>
              <a:r>
                <a:rPr lang="ru-RU" sz="1000" dirty="0"/>
                <a:t>руководитель </a:t>
              </a:r>
              <a:r>
                <a:rPr lang="en-US" sz="1000" dirty="0" smtClean="0"/>
                <a:t/>
              </a:r>
              <a:br>
                <a:rPr lang="en-US" sz="1000" dirty="0" smtClean="0"/>
              </a:br>
              <a:r>
                <a:rPr lang="ru-RU" sz="1000" dirty="0" smtClean="0"/>
                <a:t>Группы </a:t>
              </a:r>
              <a:r>
                <a:rPr lang="ru-RU" sz="1000" dirty="0"/>
                <a:t>управления </a:t>
              </a:r>
              <a:r>
                <a:rPr lang="en-US" sz="1000" dirty="0" smtClean="0"/>
                <a:t/>
              </a:r>
              <a:br>
                <a:rPr lang="en-US" sz="1000" dirty="0" smtClean="0"/>
              </a:br>
              <a:r>
                <a:rPr lang="ru-RU" sz="1000" dirty="0" smtClean="0"/>
                <a:t>финансами </a:t>
              </a:r>
              <a:r>
                <a:rPr lang="ru-RU" sz="1000" dirty="0"/>
                <a:t>и казначейством </a:t>
              </a:r>
              <a:r>
                <a:rPr lang="en-US" sz="1000" dirty="0" smtClean="0"/>
                <a:t/>
              </a:r>
              <a:br>
                <a:rPr lang="en-US" sz="1000" dirty="0" smtClean="0"/>
              </a:br>
              <a:r>
                <a:rPr lang="ru-RU" sz="1000" dirty="0" smtClean="0"/>
                <a:t>КПМГ </a:t>
              </a:r>
              <a:r>
                <a:rPr lang="ru-RU" sz="1000" dirty="0"/>
                <a:t>в России и СНГ</a:t>
              </a:r>
            </a:p>
            <a:p>
              <a:pPr>
                <a:spcBef>
                  <a:spcPts val="300"/>
                </a:spcBef>
                <a:tabLst>
                  <a:tab pos="361950" algn="l"/>
                </a:tabLst>
              </a:pPr>
              <a:r>
                <a:rPr lang="en-GB" sz="1000" b="1" dirty="0" smtClean="0"/>
                <a:t>T</a:t>
              </a:r>
              <a:r>
                <a:rPr lang="en-GB" sz="1000" dirty="0" smtClean="0"/>
                <a:t>:  +7 </a:t>
              </a:r>
              <a:r>
                <a:rPr lang="ru-RU" sz="1000" dirty="0" smtClean="0"/>
                <a:t>(495) 937 4477</a:t>
              </a:r>
              <a:endParaRPr lang="en-GB" sz="1000" dirty="0" smtClean="0"/>
            </a:p>
            <a:p>
              <a:pPr>
                <a:tabLst>
                  <a:tab pos="361950" algn="l"/>
                </a:tabLst>
              </a:pPr>
              <a:r>
                <a:rPr lang="en-US" sz="1000" b="1" dirty="0" smtClean="0"/>
                <a:t>E</a:t>
              </a:r>
              <a:r>
                <a:rPr lang="en-GB" sz="1000" dirty="0" smtClean="0"/>
                <a:t>: rmalyuga@kpmg.ru</a:t>
              </a:r>
              <a:endParaRPr lang="en-GB" sz="1000" dirty="0"/>
            </a:p>
          </p:txBody>
        </p:sp>
      </p:grpSp>
      <p:sp>
        <p:nvSpPr>
          <p:cNvPr id="1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73449" y="6063803"/>
            <a:ext cx="6275848" cy="389533"/>
          </a:xfrm>
        </p:spPr>
        <p:txBody>
          <a:bodyPr/>
          <a:lstStyle/>
          <a:p>
            <a:r>
              <a:rPr lang="ru-RU" sz="1000" dirty="0"/>
              <a:t>KPMG, логотип KPMG и слоган “cutting through complexity” являются зарегистрированными товарными знаками или товарными знаками ассоциации KPMG International.</a:t>
            </a:r>
            <a:endParaRPr lang="en-GB" sz="1000" dirty="0"/>
          </a:p>
        </p:txBody>
      </p:sp>
      <p:sp>
        <p:nvSpPr>
          <p:cNvPr id="19" name="Text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273449" y="4149080"/>
            <a:ext cx="6275848" cy="23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lIns="0" tIns="0" rIns="0" bIns="0" rtlCol="0" anchor="t">
            <a:noAutofit/>
          </a:bodyPr>
          <a:lstStyle/>
          <a:p>
            <a:r>
              <a:rPr lang="ru-RU" sz="1000" dirty="0" smtClean="0"/>
              <a:t>© 2016 </a:t>
            </a:r>
            <a:r>
              <a:rPr lang="ru-RU" sz="1000" dirty="0"/>
              <a:t>АО «КПМГ», компания, зарегистрированная в соответствии </a:t>
            </a:r>
            <a:r>
              <a:rPr lang="ru-RU" sz="1000" dirty="0" smtClean="0"/>
              <a:t/>
            </a:r>
            <a:br>
              <a:rPr lang="ru-RU" sz="1000" dirty="0" smtClean="0"/>
            </a:br>
            <a:r>
              <a:rPr lang="ru-RU" sz="1000" dirty="0" smtClean="0"/>
              <a:t>с </a:t>
            </a:r>
            <a:r>
              <a:rPr lang="ru-RU" sz="1000" dirty="0"/>
              <a:t>законодательством Российской Федерации, член сети независимых фирм КПМГ, входящих в ассоциацию KPMG International Cooperative (“KPMG International”), зарегистрированную по законодательству Швейцарии. Все права защищены. </a:t>
            </a:r>
            <a:endParaRPr lang="ru-RU" sz="1000" dirty="0" smtClean="0"/>
          </a:p>
          <a:p>
            <a:endParaRPr lang="ru-RU" sz="1000" dirty="0" smtClean="0">
              <a:latin typeface="+mj-lt"/>
            </a:endParaRPr>
          </a:p>
          <a:p>
            <a:r>
              <a:rPr lang="ru-RU" sz="1000" dirty="0">
                <a:latin typeface="+mj-lt"/>
                <a:ea typeface="Times New Roman" panose="02020603050405020304" pitchFamily="18" charset="0"/>
              </a:rPr>
              <a:t>Информация, содержащаяся в настоящем документе, носит общий характер и подготовлена без учета конкретных обстоятельств того или иного лица или организации. Хотя мы неизменно стремимся представлять своевременную и точную информацию, мы не можем гарантировать того, что данная информация окажется столь же точной на момент получения или будет оставаться столь же точной в будущем. Предпринимать какие-либо действия на основании такой информации можно только после консультаций с соответствующими специалистами и тщательного анализа конкретной ситуации. </a:t>
            </a:r>
            <a:endParaRPr lang="ru-RU" sz="1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118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352550"/>
            <a:ext cx="2414016" cy="502691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9" name="Title 1"/>
          <p:cNvSpPr>
            <a:spLocks noGrp="1"/>
          </p:cNvSpPr>
          <p:nvPr>
            <p:ph type="title"/>
          </p:nvPr>
        </p:nvSpPr>
        <p:spPr>
          <a:xfrm>
            <a:off x="56456" y="563360"/>
            <a:ext cx="8352928" cy="468594"/>
          </a:xfrm>
        </p:spPr>
        <p:txBody>
          <a:bodyPr/>
          <a:lstStyle/>
          <a:p>
            <a:r>
              <a:rPr lang="ru-RU" sz="1480" dirty="0" smtClean="0">
                <a:solidFill>
                  <a:schemeClr val="bg1"/>
                </a:solidFill>
                <a:latin typeface="+mj-lt"/>
              </a:rPr>
              <a:t>Содержание</a:t>
            </a:r>
            <a:endParaRPr lang="en-US" sz="148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273051" y="1556792"/>
            <a:ext cx="2089149" cy="4691608"/>
          </a:xfrm>
          <a:prstGeom prst="rect">
            <a:avLst/>
          </a:prstGeom>
        </p:spPr>
        <p:txBody>
          <a:bodyPr/>
          <a:lstStyle/>
          <a:p>
            <a:pPr lvl="0" defTabSz="914400">
              <a:lnSpc>
                <a:spcPct val="114000"/>
              </a:lnSpc>
              <a:spcBef>
                <a:spcPts val="600"/>
              </a:spcBef>
              <a:tabLst>
                <a:tab pos="361950" algn="l"/>
              </a:tabLst>
            </a:pPr>
            <a:r>
              <a:rPr lang="ru-RU" sz="1050" dirty="0">
                <a:latin typeface="Arial"/>
              </a:rPr>
              <a:t>Контактная информация</a:t>
            </a:r>
            <a:r>
              <a:rPr lang="en-GB" sz="1050" dirty="0">
                <a:latin typeface="Arial"/>
              </a:rPr>
              <a:t>:</a:t>
            </a:r>
          </a:p>
          <a:p>
            <a:pPr lvl="0" defTabSz="914400">
              <a:lnSpc>
                <a:spcPct val="114000"/>
              </a:lnSpc>
              <a:spcBef>
                <a:spcPts val="1200"/>
              </a:spcBef>
              <a:tabLst>
                <a:tab pos="361950" algn="l"/>
              </a:tabLst>
            </a:pPr>
            <a:r>
              <a:rPr lang="ru-RU" sz="1050" dirty="0" smtClean="0"/>
              <a:t>Роман Малюга</a:t>
            </a:r>
            <a:r>
              <a:rPr lang="en-GB" sz="1050" dirty="0" smtClean="0">
                <a:latin typeface="Arial"/>
              </a:rPr>
              <a:t/>
            </a:r>
            <a:br>
              <a:rPr lang="en-GB" sz="1050" dirty="0" smtClean="0">
                <a:latin typeface="Arial"/>
              </a:rPr>
            </a:br>
            <a:r>
              <a:rPr lang="ru-RU" sz="1050" b="0" dirty="0" smtClean="0">
                <a:latin typeface="Arial"/>
              </a:rPr>
              <a:t>Руководитель</a:t>
            </a:r>
            <a:r>
              <a:rPr lang="ru-RU" sz="1050" dirty="0" smtClean="0">
                <a:latin typeface="Arial"/>
              </a:rPr>
              <a:t> </a:t>
            </a:r>
            <a:r>
              <a:rPr lang="ru-RU" sz="1050" b="0" dirty="0" smtClean="0"/>
              <a:t>Группы </a:t>
            </a:r>
            <a:r>
              <a:rPr lang="ru-RU" sz="1050" b="0" dirty="0"/>
              <a:t>управления </a:t>
            </a:r>
            <a:br>
              <a:rPr lang="ru-RU" sz="1050" b="0" dirty="0"/>
            </a:br>
            <a:r>
              <a:rPr lang="ru-RU" sz="1050" b="0" dirty="0"/>
              <a:t>финансами и казначейством </a:t>
            </a:r>
            <a:br>
              <a:rPr lang="ru-RU" sz="1050" b="0" dirty="0"/>
            </a:br>
            <a:r>
              <a:rPr lang="ru-RU" sz="1050" b="0" dirty="0"/>
              <a:t>КПМГ в России и СНГ</a:t>
            </a:r>
          </a:p>
          <a:p>
            <a:pPr lvl="0" defTabSz="914400">
              <a:lnSpc>
                <a:spcPct val="114000"/>
              </a:lnSpc>
              <a:spcBef>
                <a:spcPts val="600"/>
              </a:spcBef>
              <a:tabLst>
                <a:tab pos="361950" algn="l"/>
              </a:tabLst>
            </a:pPr>
            <a:r>
              <a:rPr lang="ru-RU" sz="1050" b="0" i="1" dirty="0" smtClean="0">
                <a:latin typeface="Arial"/>
              </a:rPr>
              <a:t>Партнер</a:t>
            </a:r>
            <a:endParaRPr lang="ru-RU" sz="1050" b="0" i="1" dirty="0" smtClean="0"/>
          </a:p>
          <a:p>
            <a:pPr lvl="0" defTabSz="914400">
              <a:lnSpc>
                <a:spcPct val="114000"/>
              </a:lnSpc>
              <a:spcBef>
                <a:spcPts val="600"/>
              </a:spcBef>
              <a:tabLst>
                <a:tab pos="361950" algn="l"/>
              </a:tabLst>
            </a:pPr>
            <a:r>
              <a:rPr lang="en-GB" sz="1050" b="0" dirty="0" smtClean="0"/>
              <a:t>T:  +7 </a:t>
            </a:r>
            <a:r>
              <a:rPr lang="ru-RU" sz="1050" b="0" dirty="0" smtClean="0"/>
              <a:t>(495) 937 4477</a:t>
            </a:r>
            <a:endParaRPr lang="en-GB" sz="1050" b="0" dirty="0" smtClean="0"/>
          </a:p>
          <a:p>
            <a:pPr lvl="0" defTabSz="913740">
              <a:spcBef>
                <a:spcPts val="0"/>
              </a:spcBef>
              <a:tabLst>
                <a:tab pos="361950" algn="l"/>
              </a:tabLst>
            </a:pPr>
            <a:r>
              <a:rPr lang="en-US" sz="1050" b="0" dirty="0" smtClean="0"/>
              <a:t>E</a:t>
            </a:r>
            <a:r>
              <a:rPr lang="en-GB" sz="1050" b="0" dirty="0"/>
              <a:t>: </a:t>
            </a:r>
            <a:r>
              <a:rPr lang="en-GB" sz="1050" b="0" dirty="0" smtClean="0"/>
              <a:t>rmalyuga@kpmg.ru</a:t>
            </a:r>
            <a:endParaRPr lang="ru-RU" sz="1050" b="0" dirty="0" smtClean="0"/>
          </a:p>
        </p:txBody>
      </p:sp>
      <p:graphicFrame>
        <p:nvGraphicFramePr>
          <p:cNvPr id="51" name="Group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058556"/>
              </p:ext>
            </p:extLst>
          </p:nvPr>
        </p:nvGraphicFramePr>
        <p:xfrm>
          <a:off x="2576736" y="1052736"/>
          <a:ext cx="6912768" cy="4480560"/>
        </p:xfrm>
        <a:graphic>
          <a:graphicData uri="http://schemas.openxmlformats.org/drawingml/2006/table">
            <a:tbl>
              <a:tblPr/>
              <a:tblGrid>
                <a:gridCol w="5875853"/>
                <a:gridCol w="1036915"/>
              </a:tblGrid>
              <a:tr h="640080"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lang="en-US" sz="2000" b="1" kern="1200" baseline="0" dirty="0" smtClean="0">
                        <a:solidFill>
                          <a:srgbClr val="00338D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b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800" b="1" kern="1200" noProof="0" dirty="0" smtClean="0">
                          <a:solidFill>
                            <a:srgbClr val="00338D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800" b="1" kern="1200" noProof="0" dirty="0" smtClean="0">
                          <a:solidFill>
                            <a:srgbClr val="00338D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стр.</a:t>
                      </a:r>
                      <a:endParaRPr lang="en-US" sz="1800" b="1" kern="1200" noProof="0" dirty="0" smtClean="0">
                        <a:solidFill>
                          <a:srgbClr val="00338D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b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0" marR="0" lvl="0" indent="0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600" b="1" i="0" kern="1200" noProof="0" dirty="0" smtClean="0">
                          <a:solidFill>
                            <a:srgbClr val="00338D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1. Основы</a:t>
                      </a:r>
                      <a:r>
                        <a:rPr lang="ru-RU" sz="1600" b="1" i="0" kern="1200" baseline="0" noProof="0" dirty="0" smtClean="0">
                          <a:solidFill>
                            <a:srgbClr val="00338D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 Казначейства</a:t>
                      </a:r>
                      <a:endParaRPr lang="en-US" sz="1600" b="1" i="0" kern="1200" noProof="0" dirty="0" smtClean="0">
                        <a:solidFill>
                          <a:srgbClr val="00338D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ru-RU" sz="1400" b="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2</a:t>
                      </a: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0" marR="0" lvl="1" indent="0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1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.</a:t>
                      </a:r>
                      <a:r>
                        <a:rPr lang="ru-RU" sz="1600" b="1" i="0" kern="1200" baseline="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 </a:t>
                      </a:r>
                      <a:r>
                        <a:rPr lang="ru-RU" sz="1600" b="1" i="0" kern="1200" baseline="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Инновационные казначейские </a:t>
                      </a:r>
                      <a:r>
                        <a:rPr lang="ru-RU" sz="1600" b="1" i="0" kern="1200" baseline="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инструменты</a:t>
                      </a:r>
                      <a:endParaRPr lang="ru-RU" sz="1600" b="1" i="0" kern="1200" noProof="0" dirty="0" smtClean="0">
                        <a:solidFill>
                          <a:srgbClr val="00338D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609367" marR="0" lvl="2" indent="-185738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.1 </a:t>
                      </a: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Ре-инвойсинг</a:t>
                      </a:r>
                      <a:endParaRPr lang="en-US" sz="1600" b="0" i="0" kern="1200" baseline="0" noProof="0" dirty="0" smtClean="0">
                        <a:solidFill>
                          <a:srgbClr val="00338D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ru-RU" sz="1400" b="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5</a:t>
                      </a: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609367" marR="0" lvl="2" indent="-185738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.2 </a:t>
                      </a: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Неттинг</a:t>
                      </a:r>
                      <a:endParaRPr lang="ru-RU" sz="1600" b="0" i="0" kern="1200" noProof="0" dirty="0" smtClean="0">
                        <a:solidFill>
                          <a:srgbClr val="00338D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</a:pPr>
                      <a:r>
                        <a:rPr lang="ru-RU" sz="1400" b="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 pitchFamily="34" charset="0"/>
                        </a:rPr>
                        <a:t>8</a:t>
                      </a: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609367" marR="0" lvl="2" indent="-185738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2.3 </a:t>
                      </a:r>
                      <a:r>
                        <a:rPr lang="ru-RU" sz="1600" b="0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Динамическое дисконтирование за раннюю оплату</a:t>
                      </a:r>
                      <a:endParaRPr lang="ru-RU" sz="1600" b="0" i="0" kern="1200" noProof="0" dirty="0" smtClean="0">
                        <a:solidFill>
                          <a:srgbClr val="00338D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4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0</a:t>
                      </a: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0" marR="0" lvl="2" indent="0" algn="l" defTabSz="7620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1" i="0" kern="1200" noProof="0" dirty="0" smtClean="0">
                          <a:solidFill>
                            <a:srgbClr val="00338D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3. Резюме</a:t>
                      </a:r>
                    </a:p>
                  </a:txBody>
                  <a:tcPr marL="36000" marR="36000" marT="0" marB="0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87325" marR="0" lvl="1" indent="-185738" algn="ctr" defTabSz="762000" rtl="0" eaLnBrk="1" fontAlgn="base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4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itchFamily="34" charset="0"/>
                        </a:rPr>
                        <a:t>14</a:t>
                      </a:r>
                      <a:endParaRPr lang="en-US" sz="14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0" marB="0" anchor="ctr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7506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Основы </a:t>
            </a:r>
            <a:r>
              <a:rPr lang="ru-RU" dirty="0" smtClean="0"/>
              <a:t>Казначейств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114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4520952" y="1700808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Внутренний 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А</a:t>
            </a: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дитор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088904" y="3061949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Взаимодействие с инвесторами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83" name="Flowchart: Connector 82"/>
          <p:cNvSpPr/>
          <p:nvPr/>
        </p:nvSpPr>
        <p:spPr>
          <a:xfrm>
            <a:off x="200472" y="1665224"/>
            <a:ext cx="3780000" cy="3780000"/>
          </a:xfrm>
          <a:prstGeom prst="flowChartConnector">
            <a:avLst/>
          </a:prstGeom>
          <a:solidFill>
            <a:srgbClr val="409DAD"/>
          </a:solidFill>
          <a:ln w="19050">
            <a:solidFill>
              <a:srgbClr val="E5F2F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000" tIns="54000" rIns="54000" bIns="54000" rtlCol="0" anchor="t" anchorCtr="0">
            <a:no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+mj-lt"/>
              </a:rPr>
              <a:t>Корпоративное управление</a:t>
            </a:r>
            <a:endParaRPr lang="en-US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2" name="Flowchart: Connector 81"/>
          <p:cNvSpPr/>
          <p:nvPr/>
        </p:nvSpPr>
        <p:spPr>
          <a:xfrm>
            <a:off x="745664" y="2755609"/>
            <a:ext cx="2689615" cy="2689615"/>
          </a:xfrm>
          <a:prstGeom prst="flowChartConnector">
            <a:avLst/>
          </a:prstGeom>
          <a:solidFill>
            <a:srgbClr val="4066AA"/>
          </a:solidFill>
          <a:ln w="19050">
            <a:solidFill>
              <a:srgbClr val="F3E9F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54000" bIns="54000" rtlCol="0" anchor="t" anchorCtr="0"/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Управление финансами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81" name="Flowchart: Connector 80"/>
          <p:cNvSpPr/>
          <p:nvPr/>
        </p:nvSpPr>
        <p:spPr>
          <a:xfrm>
            <a:off x="1109126" y="3482532"/>
            <a:ext cx="1962692" cy="1962692"/>
          </a:xfrm>
          <a:prstGeom prst="flowChartConnector">
            <a:avLst/>
          </a:prstGeom>
          <a:solidFill>
            <a:srgbClr val="AA5CAA"/>
          </a:solidFill>
          <a:ln w="19050">
            <a:solidFill>
              <a:srgbClr val="F9EDE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54000" bIns="54000" rtlCol="0" anchor="t" anchorCtr="0"/>
          <a:lstStyle/>
          <a:p>
            <a:pPr algn="ctr">
              <a:lnSpc>
                <a:spcPct val="114000"/>
              </a:lnSpc>
            </a:pPr>
            <a:r>
              <a:rPr lang="ru-RU" sz="1050" b="1" dirty="0">
                <a:solidFill>
                  <a:schemeClr val="bg1"/>
                </a:solidFill>
                <a:latin typeface="+mj-lt"/>
              </a:rPr>
              <a:t>Управление Казначейством</a:t>
            </a:r>
            <a:endParaRPr lang="en-US" sz="105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54" name="Elbow Connector 53"/>
          <p:cNvCxnSpPr/>
          <p:nvPr/>
        </p:nvCxnSpPr>
        <p:spPr>
          <a:xfrm rot="16200000" flipH="1">
            <a:off x="1923357" y="5191429"/>
            <a:ext cx="334229" cy="173360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Flowchart: Connector 79"/>
          <p:cNvSpPr/>
          <p:nvPr/>
        </p:nvSpPr>
        <p:spPr>
          <a:xfrm>
            <a:off x="1472587" y="4209455"/>
            <a:ext cx="1235769" cy="1235769"/>
          </a:xfrm>
          <a:prstGeom prst="flowChartConnector">
            <a:avLst/>
          </a:prstGeom>
          <a:solidFill>
            <a:srgbClr val="9BCA40"/>
          </a:solidFill>
          <a:ln w="19050">
            <a:solidFill>
              <a:srgbClr val="F1F8E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0" rIns="54000" bIns="54000" rtlCol="0" anchor="ctr"/>
          <a:lstStyle/>
          <a:p>
            <a:pPr algn="ctr">
              <a:lnSpc>
                <a:spcPct val="114000"/>
              </a:lnSpc>
            </a:pPr>
            <a:r>
              <a:rPr lang="ru-RU" sz="1000" b="1" dirty="0">
                <a:solidFill>
                  <a:schemeClr val="bg1"/>
                </a:solidFill>
                <a:latin typeface="+mj-lt"/>
              </a:rPr>
              <a:t>Управление денежными средствами</a:t>
            </a:r>
            <a:endParaRPr lang="en-US" sz="1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49144" y="1052736"/>
            <a:ext cx="1152128" cy="504056"/>
          </a:xfrm>
          <a:prstGeom prst="rect">
            <a:avLst/>
          </a:prstGeom>
          <a:solidFill>
            <a:srgbClr val="409DAD"/>
          </a:soli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1"/>
                </a:solidFill>
              </a:rPr>
              <a:t>Совет Директоров / Правление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49144" y="1700808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Генеральный Директор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77336" y="1700808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Внешний Аудитор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14" name="Elbow Connector 13"/>
          <p:cNvCxnSpPr>
            <a:stCxn id="7" idx="2"/>
            <a:endCxn id="10" idx="0"/>
          </p:cNvCxnSpPr>
          <p:nvPr/>
        </p:nvCxnSpPr>
        <p:spPr>
          <a:xfrm rot="5400000">
            <a:off x="5889104" y="764704"/>
            <a:ext cx="144016" cy="1728192"/>
          </a:xfrm>
          <a:prstGeom prst="bentConnector3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Elbow Connector 17"/>
          <p:cNvCxnSpPr>
            <a:stCxn id="7" idx="2"/>
            <a:endCxn id="12" idx="0"/>
          </p:cNvCxnSpPr>
          <p:nvPr/>
        </p:nvCxnSpPr>
        <p:spPr>
          <a:xfrm rot="16200000" flipH="1">
            <a:off x="7617296" y="764704"/>
            <a:ext cx="144016" cy="1728192"/>
          </a:xfrm>
          <a:prstGeom prst="bentConnector3">
            <a:avLst>
              <a:gd name="adj1" fmla="val 50000"/>
            </a:avLst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7" idx="2"/>
            <a:endCxn id="11" idx="0"/>
          </p:cNvCxnSpPr>
          <p:nvPr/>
        </p:nvCxnSpPr>
        <p:spPr>
          <a:xfrm>
            <a:off x="6825208" y="1556792"/>
            <a:ext cx="0" cy="144016"/>
          </a:xfrm>
          <a:prstGeom prst="line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6249144" y="2348880"/>
            <a:ext cx="1152128" cy="504056"/>
          </a:xfrm>
          <a:prstGeom prst="rect">
            <a:avLst/>
          </a:prstGeom>
          <a:solidFill>
            <a:srgbClr val="4066AA"/>
          </a:soli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1"/>
                </a:solidFill>
              </a:rPr>
              <a:t>Зам. Генерального Директора по финансам</a:t>
            </a:r>
            <a:endParaRPr lang="en-US" sz="900" b="1" dirty="0">
              <a:solidFill>
                <a:schemeClr val="bg1"/>
              </a:solidFill>
            </a:endParaRPr>
          </a:p>
        </p:txBody>
      </p:sp>
      <p:cxnSp>
        <p:nvCxnSpPr>
          <p:cNvPr id="25" name="Straight Connector 24"/>
          <p:cNvCxnSpPr>
            <a:stCxn id="11" idx="2"/>
            <a:endCxn id="24" idx="0"/>
          </p:cNvCxnSpPr>
          <p:nvPr/>
        </p:nvCxnSpPr>
        <p:spPr>
          <a:xfrm>
            <a:off x="6825208" y="2204864"/>
            <a:ext cx="0" cy="144016"/>
          </a:xfrm>
          <a:prstGeom prst="line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5577069" y="3064286"/>
            <a:ext cx="1152128" cy="504056"/>
          </a:xfrm>
          <a:prstGeom prst="rect">
            <a:avLst/>
          </a:prstGeom>
          <a:solidFill>
            <a:srgbClr val="AA5CAA"/>
          </a:soli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1"/>
                </a:solidFill>
              </a:rPr>
              <a:t>Казначейство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065234" y="3066623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Контроллинг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553400" y="3068960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Налоговое администриро-вание и </a:t>
            </a:r>
          </a:p>
          <a:p>
            <a:pPr algn="ctr">
              <a:lnSpc>
                <a:spcPct val="80000"/>
              </a:lnSpc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о</a:t>
            </a: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тчетность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37" name="Elbow Connector 36"/>
          <p:cNvCxnSpPr>
            <a:stCxn id="24" idx="2"/>
            <a:endCxn id="33" idx="0"/>
          </p:cNvCxnSpPr>
          <p:nvPr/>
        </p:nvCxnSpPr>
        <p:spPr>
          <a:xfrm rot="5400000">
            <a:off x="5640582" y="1877322"/>
            <a:ext cx="209013" cy="2160240"/>
          </a:xfrm>
          <a:prstGeom prst="bentConnector3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stCxn id="24" idx="2"/>
            <a:endCxn id="36" idx="0"/>
          </p:cNvCxnSpPr>
          <p:nvPr/>
        </p:nvCxnSpPr>
        <p:spPr>
          <a:xfrm rot="16200000" flipH="1">
            <a:off x="7869324" y="1808820"/>
            <a:ext cx="216024" cy="2304256"/>
          </a:xfrm>
          <a:prstGeom prst="bentConnector3">
            <a:avLst>
              <a:gd name="adj1" fmla="val 50000"/>
            </a:avLst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24" idx="2"/>
            <a:endCxn id="35" idx="0"/>
          </p:cNvCxnSpPr>
          <p:nvPr/>
        </p:nvCxnSpPr>
        <p:spPr>
          <a:xfrm rot="16200000" flipH="1">
            <a:off x="7126410" y="2551734"/>
            <a:ext cx="213687" cy="816090"/>
          </a:xfrm>
          <a:prstGeom prst="bentConnector3">
            <a:avLst>
              <a:gd name="adj1" fmla="val 50000"/>
            </a:avLst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>
            <a:stCxn id="24" idx="2"/>
            <a:endCxn id="34" idx="0"/>
          </p:cNvCxnSpPr>
          <p:nvPr/>
        </p:nvCxnSpPr>
        <p:spPr>
          <a:xfrm rot="5400000">
            <a:off x="6383496" y="2622574"/>
            <a:ext cx="211350" cy="672075"/>
          </a:xfrm>
          <a:prstGeom prst="bentConnector3">
            <a:avLst>
              <a:gd name="adj1" fmla="val 50000"/>
            </a:avLst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5844795" y="3645024"/>
            <a:ext cx="1152128" cy="504056"/>
          </a:xfrm>
          <a:prstGeom prst="rect">
            <a:avLst/>
          </a:prstGeom>
          <a:solidFill>
            <a:srgbClr val="9BCA4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1"/>
                </a:solidFill>
              </a:rPr>
              <a:t>Управление денежными средствами</a:t>
            </a:r>
            <a:endParaRPr lang="en-US" sz="900" b="1" dirty="0">
              <a:solidFill>
                <a:schemeClr val="bg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844795" y="418508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правление финансовыми рисками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844795" y="472514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правление инвестициями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844795" y="526520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правление взаимоотноше-ниями с фин. институтами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844795" y="580526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Корпоративное финансирование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7326611" y="364502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чет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7326611" y="418508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Финансовая отчетность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7326611" y="472514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Финансовый анализ и планирование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7326611" y="526520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Контроль дебиторской и кредиторской задолженности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326611" y="5805264"/>
            <a:ext cx="1152128" cy="504056"/>
          </a:xfrm>
          <a:prstGeom prst="rect">
            <a:avLst/>
          </a:prstGeom>
          <a:gradFill>
            <a:gsLst>
              <a:gs pos="81000">
                <a:schemeClr val="bg1"/>
              </a:gs>
              <a:gs pos="100000">
                <a:srgbClr val="F1F1F1"/>
              </a:gs>
            </a:gsLst>
            <a:lin ang="18900000" scaled="1"/>
          </a:gradFill>
          <a:ln>
            <a:solidFill>
              <a:srgbClr val="F1F1F1"/>
            </a:solidFill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54000" tIns="54000" rIns="54000" bIns="54000" rtlCol="0" anchor="ctr" anchorCtr="1"/>
          <a:lstStyle/>
          <a:p>
            <a:pPr algn="ctr">
              <a:lnSpc>
                <a:spcPct val="80000"/>
              </a:lnSpc>
            </a:pPr>
            <a:r>
              <a:rPr lang="ru-RU" sz="900" b="1" dirty="0" smtClean="0">
                <a:solidFill>
                  <a:schemeClr val="bg2">
                    <a:lumMod val="50000"/>
                  </a:schemeClr>
                </a:solidFill>
              </a:rPr>
              <a:t>Управленческая </a:t>
            </a:r>
            <a:r>
              <a:rPr lang="ru-RU" sz="900" b="1" dirty="0">
                <a:solidFill>
                  <a:schemeClr val="bg2">
                    <a:lumMod val="50000"/>
                  </a:schemeClr>
                </a:solidFill>
              </a:rPr>
              <a:t>информационная система</a:t>
            </a:r>
            <a:endParaRPr lang="en-US" sz="9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75" name="Elbow Connector 74"/>
          <p:cNvCxnSpPr>
            <a:endCxn id="70" idx="1"/>
          </p:cNvCxnSpPr>
          <p:nvPr/>
        </p:nvCxnSpPr>
        <p:spPr>
          <a:xfrm rot="16200000" flipH="1">
            <a:off x="7078699" y="3649139"/>
            <a:ext cx="324109" cy="171715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endCxn id="71" idx="1"/>
          </p:cNvCxnSpPr>
          <p:nvPr/>
        </p:nvCxnSpPr>
        <p:spPr>
          <a:xfrm rot="16200000" flipH="1">
            <a:off x="6865615" y="3976116"/>
            <a:ext cx="750282" cy="171710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>
            <a:endCxn id="72" idx="1"/>
          </p:cNvCxnSpPr>
          <p:nvPr/>
        </p:nvCxnSpPr>
        <p:spPr>
          <a:xfrm rot="16200000" flipH="1">
            <a:off x="6615339" y="4265900"/>
            <a:ext cx="1250834" cy="171709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Elbow Connector 77"/>
          <p:cNvCxnSpPr>
            <a:endCxn id="73" idx="1"/>
          </p:cNvCxnSpPr>
          <p:nvPr/>
        </p:nvCxnSpPr>
        <p:spPr>
          <a:xfrm rot="16200000" flipH="1">
            <a:off x="6345308" y="4535929"/>
            <a:ext cx="1790894" cy="171712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endCxn id="74" idx="1"/>
          </p:cNvCxnSpPr>
          <p:nvPr/>
        </p:nvCxnSpPr>
        <p:spPr>
          <a:xfrm rot="16200000" flipH="1">
            <a:off x="6147764" y="4878445"/>
            <a:ext cx="2185980" cy="171713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lbow Connector 88"/>
          <p:cNvCxnSpPr/>
          <p:nvPr/>
        </p:nvCxnSpPr>
        <p:spPr>
          <a:xfrm rot="16200000" flipH="1">
            <a:off x="5596883" y="3649139"/>
            <a:ext cx="324109" cy="171715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Elbow Connector 89"/>
          <p:cNvCxnSpPr/>
          <p:nvPr/>
        </p:nvCxnSpPr>
        <p:spPr>
          <a:xfrm rot="16200000" flipH="1">
            <a:off x="5383799" y="3976116"/>
            <a:ext cx="750282" cy="171710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Elbow Connector 90"/>
          <p:cNvCxnSpPr/>
          <p:nvPr/>
        </p:nvCxnSpPr>
        <p:spPr>
          <a:xfrm rot="16200000" flipH="1">
            <a:off x="5133523" y="4265900"/>
            <a:ext cx="1250834" cy="171709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lbow Connector 91"/>
          <p:cNvCxnSpPr/>
          <p:nvPr/>
        </p:nvCxnSpPr>
        <p:spPr>
          <a:xfrm rot="16200000" flipH="1">
            <a:off x="4863492" y="4535929"/>
            <a:ext cx="1790894" cy="171712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Elbow Connector 92"/>
          <p:cNvCxnSpPr/>
          <p:nvPr/>
        </p:nvCxnSpPr>
        <p:spPr>
          <a:xfrm rot="16200000" flipH="1">
            <a:off x="4665948" y="4878445"/>
            <a:ext cx="2185980" cy="171713"/>
          </a:xfrm>
          <a:prstGeom prst="bentConnector2">
            <a:avLst/>
          </a:prstGeom>
          <a:ln>
            <a:solidFill>
              <a:srgbClr val="7476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 smtClean="0">
                <a:solidFill>
                  <a:schemeClr val="bg1"/>
                </a:solidFill>
                <a:latin typeface="+mj-lt"/>
              </a:rPr>
              <a:t>Финансовая функция и роль Казначейства</a:t>
            </a:r>
            <a:endParaRPr lang="en-US" sz="148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6148643"/>
            <a:ext cx="914400" cy="540060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r>
              <a:rPr lang="ru-RU" sz="900" dirty="0" smtClean="0">
                <a:latin typeface="Arial" pitchFamily="34" charset="0"/>
                <a:cs typeface="Arial" pitchFamily="34" charset="0"/>
              </a:rPr>
              <a:t>Источник: ©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2014 Association for Financial Professionals. All rights reserved. V4.1, Chapter 1</a:t>
            </a:r>
          </a:p>
        </p:txBody>
      </p:sp>
    </p:spTree>
    <p:extLst>
      <p:ext uri="{BB962C8B-B14F-4D97-AF65-F5344CB8AC3E}">
        <p14:creationId xmlns:p14="http://schemas.microsoft.com/office/powerpoint/2010/main" val="4038530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63"/>
          <p:cNvSpPr/>
          <p:nvPr/>
        </p:nvSpPr>
        <p:spPr bwMode="auto">
          <a:xfrm>
            <a:off x="0" y="1037208"/>
            <a:ext cx="9906000" cy="5416128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168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1981200" y="2033689"/>
            <a:ext cx="5486400" cy="3439088"/>
          </a:xfrm>
          <a:prstGeom prst="ellipse">
            <a:avLst/>
          </a:prstGeom>
          <a:noFill/>
          <a:ln w="1270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400"/>
          </a:p>
        </p:txBody>
      </p:sp>
      <p:sp>
        <p:nvSpPr>
          <p:cNvPr id="9" name="Oval 8"/>
          <p:cNvSpPr/>
          <p:nvPr/>
        </p:nvSpPr>
        <p:spPr>
          <a:xfrm>
            <a:off x="2739314" y="1687342"/>
            <a:ext cx="1143000" cy="1143000"/>
          </a:xfrm>
          <a:prstGeom prst="ellipse">
            <a:avLst/>
          </a:prstGeom>
          <a:gradFill>
            <a:gsLst>
              <a:gs pos="0">
                <a:srgbClr val="E3A780"/>
              </a:gs>
              <a:gs pos="100000">
                <a:srgbClr val="D67A40"/>
              </a:gs>
            </a:gsLst>
            <a:lin ang="16800000" scaled="0"/>
          </a:gradFill>
          <a:ln w="63500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200" dirty="0"/>
          </a:p>
        </p:txBody>
      </p:sp>
      <p:sp>
        <p:nvSpPr>
          <p:cNvPr id="10" name="Oval 9"/>
          <p:cNvSpPr/>
          <p:nvPr/>
        </p:nvSpPr>
        <p:spPr>
          <a:xfrm>
            <a:off x="6685769" y="3837331"/>
            <a:ext cx="1143000" cy="1143000"/>
          </a:xfrm>
          <a:prstGeom prst="ellipse">
            <a:avLst/>
          </a:prstGeom>
          <a:gradFill>
            <a:gsLst>
              <a:gs pos="0">
                <a:srgbClr val="9BCA40"/>
              </a:gs>
              <a:gs pos="100000">
                <a:srgbClr val="9BCA40"/>
              </a:gs>
            </a:gsLst>
            <a:lin ang="16800000" scaled="0"/>
          </a:gradFill>
          <a:ln w="63500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200" dirty="0"/>
          </a:p>
        </p:txBody>
      </p:sp>
      <p:sp>
        <p:nvSpPr>
          <p:cNvPr id="11" name="Oval 10"/>
          <p:cNvSpPr/>
          <p:nvPr/>
        </p:nvSpPr>
        <p:spPr>
          <a:xfrm>
            <a:off x="1755117" y="3837331"/>
            <a:ext cx="1143000" cy="1143000"/>
          </a:xfrm>
          <a:prstGeom prst="ellipse">
            <a:avLst/>
          </a:prstGeom>
          <a:gradFill>
            <a:gsLst>
              <a:gs pos="0">
                <a:srgbClr val="BDB694"/>
              </a:gs>
              <a:gs pos="100000">
                <a:srgbClr val="BDB694"/>
              </a:gs>
            </a:gsLst>
            <a:lin ang="16800000" scaled="0"/>
          </a:gradFill>
          <a:ln w="63500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200" dirty="0"/>
          </a:p>
        </p:txBody>
      </p:sp>
      <p:sp>
        <p:nvSpPr>
          <p:cNvPr id="19" name="Oval 18"/>
          <p:cNvSpPr/>
          <p:nvPr/>
        </p:nvSpPr>
        <p:spPr>
          <a:xfrm>
            <a:off x="5542769" y="1687342"/>
            <a:ext cx="1143000" cy="1143000"/>
          </a:xfrm>
          <a:prstGeom prst="ellipse">
            <a:avLst/>
          </a:prstGeom>
          <a:gradFill>
            <a:gsLst>
              <a:gs pos="0">
                <a:srgbClr val="F0C940"/>
              </a:gs>
              <a:gs pos="100000">
                <a:srgbClr val="EBB700"/>
              </a:gs>
            </a:gsLst>
            <a:lin ang="16800000" scaled="0"/>
          </a:gradFill>
          <a:ln w="63500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GB" sz="1200" dirty="0"/>
              <a:t>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592915" y="2050427"/>
            <a:ext cx="1012112" cy="416831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Фабрика платежей</a:t>
            </a:r>
            <a:endParaRPr lang="ru-RU" sz="1000" b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804433" y="4200416"/>
            <a:ext cx="1044369" cy="416831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spAutoFit/>
          </a:bodyPr>
          <a:lstStyle/>
          <a:p>
            <a:pPr algn="ctr"/>
            <a:r>
              <a:rPr lang="en-US" sz="1000" b="1" dirty="0" smtClean="0">
                <a:solidFill>
                  <a:schemeClr val="bg1"/>
                </a:solidFill>
                <a:latin typeface="+mj-lt"/>
              </a:rPr>
              <a:t>Cash Flow at Risk</a:t>
            </a:r>
            <a:endParaRPr lang="ru-RU" sz="1000" b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687332" y="2086864"/>
            <a:ext cx="1262528" cy="416831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Корпоративный </a:t>
            </a:r>
            <a:r>
              <a:rPr lang="ru-RU" sz="1000" b="1" dirty="0" err="1" smtClean="0">
                <a:solidFill>
                  <a:schemeClr val="bg1"/>
                </a:solidFill>
                <a:latin typeface="+mj-lt"/>
              </a:rPr>
              <a:t>дилинг</a:t>
            </a:r>
            <a:endParaRPr lang="ru-RU" sz="1000" b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4102494" y="5105400"/>
            <a:ext cx="1143000" cy="1143000"/>
          </a:xfrm>
          <a:prstGeom prst="ellipse">
            <a:avLst/>
          </a:prstGeom>
          <a:gradFill>
            <a:gsLst>
              <a:gs pos="0">
                <a:srgbClr val="80BEC9"/>
              </a:gs>
              <a:gs pos="100000">
                <a:srgbClr val="409DAD"/>
              </a:gs>
            </a:gsLst>
            <a:lin ang="16800000" scaled="0"/>
          </a:gradFill>
          <a:ln w="63500">
            <a:solidFill>
              <a:srgbClr val="D9D9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4065175" y="5468485"/>
            <a:ext cx="1230986" cy="416831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Платежный календарь</a:t>
            </a:r>
            <a:endParaRPr lang="ru-RU" sz="10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 rot="5400000">
            <a:off x="3646552" y="2597972"/>
            <a:ext cx="2122890" cy="2160974"/>
            <a:chOff x="2097835" y="3518231"/>
            <a:chExt cx="2795703" cy="2801726"/>
          </a:xfrm>
        </p:grpSpPr>
        <p:sp>
          <p:nvSpPr>
            <p:cNvPr id="33" name="Oval 55"/>
            <p:cNvSpPr>
              <a:spLocks noChangeAspect="1"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459002" y="3771790"/>
              <a:ext cx="2270315" cy="2252075"/>
            </a:xfrm>
            <a:prstGeom prst="ellipse">
              <a:avLst/>
            </a:prstGeom>
            <a:gradFill>
              <a:gsLst>
                <a:gs pos="0">
                  <a:srgbClr val="4066AA"/>
                </a:gs>
                <a:gs pos="100000">
                  <a:srgbClr val="8099C6"/>
                </a:gs>
              </a:gsLst>
              <a:lin ang="168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2097835" y="3518231"/>
              <a:ext cx="2795703" cy="2801726"/>
              <a:chOff x="2097835" y="3518231"/>
              <a:chExt cx="2795703" cy="2801726"/>
            </a:xfrm>
          </p:grpSpPr>
          <p:sp>
            <p:nvSpPr>
              <p:cNvPr id="36" name="Oval 136"/>
              <p:cNvSpPr/>
              <p:nvPr/>
            </p:nvSpPr>
            <p:spPr bwMode="gray">
              <a:xfrm rot="285018">
                <a:off x="2520959" y="3746274"/>
                <a:ext cx="2372579" cy="2372580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Circle">
                  <a:avLst/>
                </a:prstTxWarp>
              </a:bodyPr>
              <a:lstStyle/>
              <a:p>
                <a:pPr algn="ctr"/>
                <a:endParaRPr lang="en-GB" sz="900" b="1" dirty="0" smtClean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7" name="Oval 36"/>
              <p:cNvSpPr/>
              <p:nvPr/>
            </p:nvSpPr>
            <p:spPr bwMode="gray">
              <a:xfrm rot="10965238">
                <a:off x="2097835" y="3665303"/>
                <a:ext cx="2372579" cy="2372580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Circle">
                  <a:avLst>
                    <a:gd name="adj" fmla="val 13360110"/>
                  </a:avLst>
                </a:prstTxWarp>
              </a:bodyPr>
              <a:lstStyle/>
              <a:p>
                <a:pPr algn="ctr"/>
                <a:endParaRPr lang="en-GB" sz="900" b="1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8" name="Oval 136"/>
              <p:cNvSpPr/>
              <p:nvPr/>
            </p:nvSpPr>
            <p:spPr bwMode="gray">
              <a:xfrm rot="18308209">
                <a:off x="2435177" y="3547373"/>
                <a:ext cx="2372579" cy="2372580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Circle">
                  <a:avLst/>
                </a:prstTxWarp>
              </a:bodyPr>
              <a:lstStyle/>
              <a:p>
                <a:pPr algn="ctr"/>
                <a:endParaRPr lang="en-GB" sz="900" b="1" dirty="0" smtClean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39" name="Oval 136"/>
              <p:cNvSpPr/>
              <p:nvPr/>
            </p:nvSpPr>
            <p:spPr bwMode="gray">
              <a:xfrm rot="14756259">
                <a:off x="2216144" y="3518231"/>
                <a:ext cx="2372579" cy="2372580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Circle">
                  <a:avLst/>
                </a:prstTxWarp>
              </a:bodyPr>
              <a:lstStyle/>
              <a:p>
                <a:pPr algn="ctr"/>
                <a:endParaRPr lang="en-GB" sz="900" b="1" dirty="0" smtClean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40" name="Oval 39"/>
              <p:cNvSpPr/>
              <p:nvPr/>
            </p:nvSpPr>
            <p:spPr bwMode="gray">
              <a:xfrm rot="2048866">
                <a:off x="2178973" y="3914351"/>
                <a:ext cx="2372579" cy="2372579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algn="ctr"/>
                <a:endParaRPr lang="en-GB" sz="900" b="1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41" name="Oval 40"/>
              <p:cNvSpPr/>
              <p:nvPr/>
            </p:nvSpPr>
            <p:spPr bwMode="gray">
              <a:xfrm rot="19991438">
                <a:off x="2302174" y="3791414"/>
                <a:ext cx="2528543" cy="2528543"/>
              </a:xfrm>
              <a:prstGeom prst="ellipse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prstTxWarp prst="textArchDown">
                  <a:avLst/>
                </a:prstTxWarp>
              </a:bodyPr>
              <a:lstStyle/>
              <a:p>
                <a:pPr algn="ctr"/>
                <a:endParaRPr lang="en-GB" sz="900" b="1" dirty="0">
                  <a:solidFill>
                    <a:schemeClr val="bg1"/>
                  </a:solidFill>
                  <a:latin typeface="Arial"/>
                </a:endParaRPr>
              </a:p>
            </p:txBody>
          </p:sp>
        </p:grpSp>
      </p:grpSp>
      <p:sp>
        <p:nvSpPr>
          <p:cNvPr id="49" name="TextBox 48"/>
          <p:cNvSpPr txBox="1"/>
          <p:nvPr/>
        </p:nvSpPr>
        <p:spPr>
          <a:xfrm>
            <a:off x="3995272" y="3511365"/>
            <a:ext cx="1449862" cy="483737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Функции Казначейства</a:t>
            </a:r>
            <a:endParaRPr lang="ru-RU" sz="6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751213" y="4277360"/>
            <a:ext cx="1012112" cy="262943"/>
          </a:xfrm>
          <a:prstGeom prst="rect">
            <a:avLst/>
          </a:prstGeom>
          <a:noFill/>
        </p:spPr>
        <p:txBody>
          <a:bodyPr wrap="square" lIns="54000" tIns="54000" rIns="54000" bIns="54000" rtlCol="0" anchor="ctr" anchorCtr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+mj-lt"/>
              </a:rPr>
              <a:t>Кэш-</a:t>
            </a:r>
            <a:r>
              <a:rPr lang="ru-RU" sz="1000" b="1" dirty="0" err="1" smtClean="0">
                <a:solidFill>
                  <a:schemeClr val="bg1"/>
                </a:solidFill>
                <a:latin typeface="+mj-lt"/>
              </a:rPr>
              <a:t>пулинг</a:t>
            </a:r>
            <a:endParaRPr lang="ru-RU" sz="1000" b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057630" y="1368017"/>
            <a:ext cx="2005753" cy="878496"/>
          </a:xfrm>
          <a:prstGeom prst="wedgeRectCallout">
            <a:avLst>
              <a:gd name="adj1" fmla="val -69256"/>
              <a:gd name="adj2" fmla="val 38755"/>
            </a:avLst>
          </a:prstGeom>
          <a:solidFill>
            <a:srgbClr val="FDF8E5">
              <a:alpha val="82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54000" tIns="54000" rIns="54000" bIns="54000" rtlCol="0">
            <a:spAutoFit/>
          </a:bodyPr>
          <a:lstStyle>
            <a:defPPr>
              <a:defRPr lang="en-US"/>
            </a:defPPr>
            <a:lvl1pPr marL="171450" indent="-171450">
              <a:buFont typeface="Arial" panose="020B0604020202020204" pitchFamily="34" charset="0"/>
              <a:buChar char="•"/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ru-RU" dirty="0" smtClean="0"/>
              <a:t>Управление платежами</a:t>
            </a:r>
            <a:endParaRPr lang="ru-RU" dirty="0"/>
          </a:p>
          <a:p>
            <a:pPr>
              <a:spcAft>
                <a:spcPts val="600"/>
              </a:spcAft>
            </a:pPr>
            <a:r>
              <a:rPr lang="ru-RU" dirty="0" smtClean="0"/>
              <a:t>Валютный контроль</a:t>
            </a:r>
            <a:endParaRPr lang="ru-RU" dirty="0"/>
          </a:p>
          <a:p>
            <a:pPr>
              <a:spcAft>
                <a:spcPts val="600"/>
              </a:spcAft>
            </a:pPr>
            <a:r>
              <a:rPr lang="ru-RU" dirty="0"/>
              <a:t>Оптимизация </a:t>
            </a:r>
            <a:r>
              <a:rPr lang="ru-RU" dirty="0" smtClean="0"/>
              <a:t>банковских тарифов</a:t>
            </a:r>
            <a:endParaRPr lang="ru-RU" dirty="0"/>
          </a:p>
        </p:txBody>
      </p:sp>
      <p:sp>
        <p:nvSpPr>
          <p:cNvPr id="54" name="TextBox 53"/>
          <p:cNvSpPr txBox="1"/>
          <p:nvPr/>
        </p:nvSpPr>
        <p:spPr>
          <a:xfrm>
            <a:off x="7828769" y="4803237"/>
            <a:ext cx="2005753" cy="724608"/>
          </a:xfrm>
          <a:prstGeom prst="wedgeRectCallout">
            <a:avLst>
              <a:gd name="adj1" fmla="val -67039"/>
              <a:gd name="adj2" fmla="val -56408"/>
            </a:avLst>
          </a:prstGeom>
          <a:solidFill>
            <a:srgbClr val="DEEDBF">
              <a:alpha val="82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54000" tIns="54000" rIns="54000" bIns="5400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Физический кэш-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пулинг</a:t>
            </a:r>
            <a:endParaRPr lang="ru-RU" sz="1000" dirty="0" smtClean="0">
              <a:latin typeface="Arial" pitchFamily="34" charset="0"/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Виртуальный кэш-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пулинг</a:t>
            </a:r>
            <a:endParaRPr lang="en-US" sz="10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Инфо-пул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17573" y="1065838"/>
            <a:ext cx="2373720" cy="724608"/>
          </a:xfrm>
          <a:prstGeom prst="wedgeRectCallout">
            <a:avLst>
              <a:gd name="adj1" fmla="val 42573"/>
              <a:gd name="adj2" fmla="val 95959"/>
            </a:avLst>
          </a:prstGeom>
          <a:solidFill>
            <a:srgbClr val="F9EDE5">
              <a:alpha val="82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54000" tIns="54000" rIns="54000" bIns="5400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Размещение денежных средств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Заемное финансирование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Конверсионные операции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93264" y="2543684"/>
            <a:ext cx="1807850" cy="1340161"/>
          </a:xfrm>
          <a:prstGeom prst="wedgeRectCallout">
            <a:avLst>
              <a:gd name="adj1" fmla="val 69741"/>
              <a:gd name="adj2" fmla="val 67958"/>
            </a:avLst>
          </a:prstGeom>
          <a:solidFill>
            <a:srgbClr val="E9E7DB">
              <a:alpha val="82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54000" tIns="54000" rIns="54000" bIns="5400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Управление финансовыми рисками: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Валютный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роцентный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Кредитный</a:t>
            </a:r>
          </a:p>
          <a:p>
            <a:pPr marL="62865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Риск ликвидности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1712640" y="5683340"/>
            <a:ext cx="2194560" cy="570720"/>
          </a:xfrm>
          <a:prstGeom prst="wedgeRectCallout">
            <a:avLst>
              <a:gd name="adj1" fmla="val 64854"/>
              <a:gd name="adj2" fmla="val -21571"/>
            </a:avLst>
          </a:prstGeom>
          <a:solidFill>
            <a:srgbClr val="E5F1FA">
              <a:alpha val="82000"/>
            </a:srgbClr>
          </a:solidFill>
          <a:ln>
            <a:solidFill>
              <a:schemeClr val="bg1">
                <a:lumMod val="75000"/>
              </a:schemeClr>
            </a:solidFill>
          </a:ln>
        </p:spPr>
        <p:txBody>
          <a:bodyPr wrap="square" lIns="54000" tIns="54000" rIns="54000" bIns="54000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Скользящий мультивалютный прогноз ликвидности в ежедневной детализации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 bwMode="gray">
          <a:xfrm>
            <a:off x="56456" y="563360"/>
            <a:ext cx="9289032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 smtClean="0">
                <a:solidFill>
                  <a:schemeClr val="bg1"/>
                </a:solidFill>
                <a:latin typeface="+mj-lt"/>
              </a:rPr>
              <a:t>Основные функции казначейства</a:t>
            </a:r>
            <a:endParaRPr lang="en-US" sz="148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071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dirty="0" smtClean="0"/>
              <a:t>Инновационные казначейские </a:t>
            </a:r>
            <a:r>
              <a:rPr lang="ru-RU" dirty="0" smtClean="0"/>
              <a:t>инструменты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6536" y="3789040"/>
            <a:ext cx="2952328" cy="1079500"/>
          </a:xfrm>
        </p:spPr>
        <p:txBody>
          <a:bodyPr/>
          <a:lstStyle/>
          <a:p>
            <a:pPr marL="0" indent="0"/>
            <a:r>
              <a:rPr lang="ru-RU" sz="2000" b="1" dirty="0" smtClean="0"/>
              <a:t>2.1 </a:t>
            </a:r>
            <a:r>
              <a:rPr lang="ru-RU" sz="2000" b="1" dirty="0" smtClean="0"/>
              <a:t>Ре-инвойсинг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806151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ounded Rectangle 59"/>
          <p:cNvSpPr/>
          <p:nvPr/>
        </p:nvSpPr>
        <p:spPr>
          <a:xfrm>
            <a:off x="138392" y="5060613"/>
            <a:ext cx="9639144" cy="1276184"/>
          </a:xfrm>
          <a:prstGeom prst="roundRect">
            <a:avLst/>
          </a:prstGeom>
          <a:gradFill>
            <a:gsLst>
              <a:gs pos="8000">
                <a:srgbClr val="00257A"/>
              </a:gs>
              <a:gs pos="35000">
                <a:srgbClr val="00338D"/>
              </a:gs>
              <a:gs pos="100000">
                <a:srgbClr val="009FDA"/>
              </a:gs>
            </a:gsLst>
            <a:lin ang="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171450" indent="-171450" algn="ctr">
              <a:buSzPct val="150000"/>
              <a:buFont typeface="Wingdings" panose="05000000000000000000" pitchFamily="2" charset="2"/>
              <a:buChar char="ü"/>
            </a:pPr>
            <a:endParaRPr lang="ru-RU" sz="1200" b="1" dirty="0"/>
          </a:p>
        </p:txBody>
      </p:sp>
      <p:sp>
        <p:nvSpPr>
          <p:cNvPr id="5" name="Rounded Rectangle 4"/>
          <p:cNvSpPr/>
          <p:nvPr/>
        </p:nvSpPr>
        <p:spPr>
          <a:xfrm rot="10800000">
            <a:off x="145166" y="1628808"/>
            <a:ext cx="4752528" cy="3345737"/>
          </a:xfrm>
          <a:prstGeom prst="roundRect">
            <a:avLst>
              <a:gd name="adj" fmla="val 6844"/>
            </a:avLst>
          </a:prstGeom>
          <a:gradFill flip="none" rotWithShape="1">
            <a:gsLst>
              <a:gs pos="0">
                <a:srgbClr val="E5EAF3"/>
              </a:gs>
              <a:gs pos="100000">
                <a:schemeClr val="bg1"/>
              </a:gs>
            </a:gsLst>
            <a:lin ang="5400000" scaled="1"/>
            <a:tileRect/>
          </a:gradFill>
          <a:ln w="6350" cmpd="sng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" tIns="0" rIns="54000" bIns="54000" rtlCol="0" anchor="t" anchorCtr="0"/>
          <a:lstStyle/>
          <a:p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ounded Rectangle 5"/>
          <p:cNvSpPr/>
          <p:nvPr/>
        </p:nvSpPr>
        <p:spPr>
          <a:xfrm rot="10800000">
            <a:off x="5025008" y="1628809"/>
            <a:ext cx="4752528" cy="3345737"/>
          </a:xfrm>
          <a:prstGeom prst="roundRect">
            <a:avLst>
              <a:gd name="adj" fmla="val 6844"/>
            </a:avLst>
          </a:prstGeom>
          <a:gradFill flip="none" rotWithShape="1">
            <a:gsLst>
              <a:gs pos="0">
                <a:srgbClr val="E5EAF3"/>
              </a:gs>
              <a:gs pos="100000">
                <a:schemeClr val="bg1"/>
              </a:gs>
            </a:gsLst>
            <a:lin ang="5400000" scaled="1"/>
            <a:tileRect/>
          </a:gradFill>
          <a:ln w="6350" cmpd="sng">
            <a:solidFill>
              <a:schemeClr val="bg1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" tIns="0" rIns="54000" bIns="54000" rtlCol="0" anchor="t" anchorCtr="0"/>
          <a:lstStyle/>
          <a:p>
            <a:endParaRPr lang="ru-RU" sz="1400" b="1" dirty="0">
              <a:solidFill>
                <a:srgbClr val="00338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3080620" y="1916832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</a:t>
            </a:r>
            <a:br>
              <a:rPr lang="ru-RU" sz="1050" b="1" dirty="0"/>
            </a:br>
            <a:r>
              <a:rPr lang="ru-RU" sz="1050" b="1" dirty="0"/>
              <a:t>Великобритания</a:t>
            </a:r>
            <a:endParaRPr lang="en-US" sz="1050" b="1" dirty="0"/>
          </a:p>
        </p:txBody>
      </p:sp>
      <p:sp>
        <p:nvSpPr>
          <p:cNvPr id="10" name="Oval 9"/>
          <p:cNvSpPr/>
          <p:nvPr/>
        </p:nvSpPr>
        <p:spPr>
          <a:xfrm>
            <a:off x="817920" y="1916832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</a:t>
            </a:r>
            <a:br>
              <a:rPr lang="ru-RU" sz="1050" b="1" dirty="0"/>
            </a:br>
            <a:r>
              <a:rPr lang="ru-RU" sz="1050" b="1" dirty="0"/>
              <a:t>Германия</a:t>
            </a:r>
            <a:endParaRPr lang="en-US" sz="1050" b="1" dirty="0"/>
          </a:p>
        </p:txBody>
      </p:sp>
      <p:sp>
        <p:nvSpPr>
          <p:cNvPr id="11" name="Oval 10"/>
          <p:cNvSpPr/>
          <p:nvPr/>
        </p:nvSpPr>
        <p:spPr>
          <a:xfrm>
            <a:off x="835769" y="3803444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 Швейцария</a:t>
            </a:r>
            <a:endParaRPr lang="en-US" sz="1050" b="1" dirty="0"/>
          </a:p>
        </p:txBody>
      </p:sp>
      <p:sp>
        <p:nvSpPr>
          <p:cNvPr id="12" name="Oval 11"/>
          <p:cNvSpPr/>
          <p:nvPr/>
        </p:nvSpPr>
        <p:spPr>
          <a:xfrm>
            <a:off x="3080620" y="3803444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00" b="1" dirty="0"/>
              <a:t>ДО </a:t>
            </a:r>
            <a:r>
              <a:rPr lang="ru-RU" sz="1000" b="1" dirty="0" smtClean="0"/>
              <a:t>Турция</a:t>
            </a:r>
            <a:endParaRPr lang="en-US" sz="1000" b="1" dirty="0"/>
          </a:p>
        </p:txBody>
      </p:sp>
      <p:cxnSp>
        <p:nvCxnSpPr>
          <p:cNvPr id="13" name="Straight Arrow Connector 12"/>
          <p:cNvCxnSpPr/>
          <p:nvPr/>
        </p:nvCxnSpPr>
        <p:spPr>
          <a:xfrm flipH="1">
            <a:off x="2576737" y="419228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H="1">
            <a:off x="2576737" y="2305674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1784735" y="2305674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rot="5400000">
            <a:off x="3365975" y="2873205"/>
            <a:ext cx="535525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rot="16200000" flipV="1">
            <a:off x="1085018" y="3624755"/>
            <a:ext cx="535525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rot="16200000" flipV="1">
            <a:off x="3365975" y="3624755"/>
            <a:ext cx="535525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rot="1800000" flipH="1">
            <a:off x="2749183" y="3771059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rot="19800000">
            <a:off x="1597398" y="3771059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rot="1800000" flipV="1">
            <a:off x="1597398" y="2726901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2709309" y="1988840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€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709309" y="4217208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₣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28664" y="1984960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£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912531" y="346482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€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674602" y="273880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</a:t>
            </a:r>
          </a:p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659848" y="3464824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£ 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830101" y="2409808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551108" y="3486153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£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986004" y="3480849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€</a:t>
            </a:r>
          </a:p>
        </p:txBody>
      </p:sp>
      <p:sp>
        <p:nvSpPr>
          <p:cNvPr id="31" name="Text Placeholder 10"/>
          <p:cNvSpPr>
            <a:spLocks noGrp="1"/>
          </p:cNvSpPr>
          <p:nvPr/>
        </p:nvSpPr>
        <p:spPr>
          <a:xfrm>
            <a:off x="235960" y="1916832"/>
            <a:ext cx="507329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 defTabSz="913740">
              <a:spcBef>
                <a:spcPts val="738"/>
              </a:spcBef>
              <a:buClrTx/>
              <a:buNone/>
              <a:defRPr/>
            </a:pPr>
            <a:r>
              <a:rPr lang="ru-RU" sz="1050" u="sng" dirty="0" smtClean="0">
                <a:solidFill>
                  <a:srgbClr val="000000"/>
                </a:solidFill>
              </a:rPr>
              <a:t>Риски:</a:t>
            </a:r>
            <a:r>
              <a:rPr lang="ru-RU" sz="1050" dirty="0" smtClean="0">
                <a:latin typeface="Arial" pitchFamily="34" charset="0"/>
              </a:rPr>
              <a:t>£</a:t>
            </a:r>
            <a:br>
              <a:rPr lang="ru-RU" sz="1050" dirty="0" smtClean="0">
                <a:latin typeface="Arial" pitchFamily="34" charset="0"/>
              </a:rPr>
            </a:br>
            <a:r>
              <a:rPr lang="en-US" sz="1050" i="1" dirty="0">
                <a:solidFill>
                  <a:srgbClr val="000000"/>
                </a:solidFill>
                <a:latin typeface="Arial" pitchFamily="34" charset="0"/>
                <a:cs typeface="+mn-cs"/>
              </a:rPr>
              <a:t>L</a:t>
            </a:r>
          </a:p>
        </p:txBody>
      </p:sp>
      <p:sp>
        <p:nvSpPr>
          <p:cNvPr id="32" name="Text Placeholder 10"/>
          <p:cNvSpPr>
            <a:spLocks noGrp="1"/>
          </p:cNvSpPr>
          <p:nvPr/>
        </p:nvSpPr>
        <p:spPr>
          <a:xfrm>
            <a:off x="4243897" y="1916832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  <a:r>
              <a:rPr lang="en-US" sz="1050" dirty="0">
                <a:latin typeface="Arial" pitchFamily="34" charset="0"/>
                <a:cs typeface="Arial" pitchFamily="34" charset="0"/>
              </a:rPr>
              <a:t> €</a:t>
            </a:r>
            <a:r>
              <a:rPr lang="ru-RU" sz="1050" dirty="0">
                <a:latin typeface="Arial" pitchFamily="34" charset="0"/>
              </a:rPr>
              <a:t/>
            </a:r>
            <a:br>
              <a:rPr lang="ru-RU" sz="1050" dirty="0">
                <a:latin typeface="Arial" pitchFamily="34" charset="0"/>
              </a:rPr>
            </a:br>
            <a:r>
              <a:rPr lang="en-US" sz="1050" i="1" dirty="0">
                <a:latin typeface="Arial" pitchFamily="34" charset="0"/>
              </a:rPr>
              <a:t>L</a:t>
            </a:r>
          </a:p>
        </p:txBody>
      </p:sp>
      <p:sp>
        <p:nvSpPr>
          <p:cNvPr id="33" name="Text Placeholder 10"/>
          <p:cNvSpPr>
            <a:spLocks noGrp="1"/>
          </p:cNvSpPr>
          <p:nvPr/>
        </p:nvSpPr>
        <p:spPr>
          <a:xfrm>
            <a:off x="4243897" y="3803444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  <a:r>
              <a:rPr lang="en-US" sz="1050" dirty="0">
                <a:latin typeface="Arial" pitchFamily="34" charset="0"/>
                <a:cs typeface="Arial" pitchFamily="34" charset="0"/>
              </a:rPr>
              <a:t> €</a:t>
            </a:r>
            <a:r>
              <a:rPr lang="ru-RU" sz="105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1050" b="1" dirty="0">
                <a:latin typeface="Arial" pitchFamily="34" charset="0"/>
                <a:cs typeface="Arial" pitchFamily="34" charset="0"/>
              </a:rPr>
            </a:br>
            <a:r>
              <a:rPr lang="ru-RU" sz="1050" dirty="0">
                <a:latin typeface="Arial" pitchFamily="34" charset="0"/>
              </a:rPr>
              <a:t>£</a:t>
            </a:r>
            <a:br>
              <a:rPr lang="ru-RU" sz="1050" dirty="0">
                <a:latin typeface="Arial" pitchFamily="34" charset="0"/>
              </a:rPr>
            </a:br>
            <a:r>
              <a:rPr lang="ru-RU" sz="1050" dirty="0">
                <a:latin typeface="Arial" pitchFamily="34" charset="0"/>
                <a:cs typeface="Arial" pitchFamily="34" charset="0"/>
              </a:rPr>
              <a:t>₣</a:t>
            </a:r>
            <a:endParaRPr lang="en-US"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 Placeholder 10"/>
          <p:cNvSpPr>
            <a:spLocks noGrp="1"/>
          </p:cNvSpPr>
          <p:nvPr/>
        </p:nvSpPr>
        <p:spPr>
          <a:xfrm>
            <a:off x="237102" y="3800523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  <a:r>
              <a:rPr lang="en-US" sz="1050" dirty="0">
                <a:latin typeface="Arial" pitchFamily="34" charset="0"/>
                <a:cs typeface="Arial" pitchFamily="34" charset="0"/>
              </a:rPr>
              <a:t>€</a:t>
            </a:r>
            <a:r>
              <a:rPr lang="ru-RU" sz="105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1050" b="1" dirty="0">
                <a:latin typeface="Arial" pitchFamily="34" charset="0"/>
                <a:cs typeface="Arial" pitchFamily="34" charset="0"/>
              </a:rPr>
            </a:br>
            <a:r>
              <a:rPr lang="ru-RU" sz="1050" dirty="0">
                <a:latin typeface="Arial" pitchFamily="34" charset="0"/>
              </a:rPr>
              <a:t>£</a:t>
            </a:r>
            <a:br>
              <a:rPr lang="ru-RU" sz="1050" dirty="0">
                <a:latin typeface="Arial" pitchFamily="34" charset="0"/>
              </a:rPr>
            </a:br>
            <a:r>
              <a:rPr lang="en-US" sz="1050" i="1" dirty="0">
                <a:latin typeface="Arial" pitchFamily="34" charset="0"/>
              </a:rPr>
              <a:t>L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1809413" y="4192286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 flipH="1">
            <a:off x="1941987" y="4217208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</a:t>
            </a:r>
          </a:p>
        </p:txBody>
      </p:sp>
      <p:sp>
        <p:nvSpPr>
          <p:cNvPr id="38" name="Oval 37"/>
          <p:cNvSpPr/>
          <p:nvPr/>
        </p:nvSpPr>
        <p:spPr>
          <a:xfrm>
            <a:off x="7970525" y="1916832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</a:t>
            </a:r>
            <a:br>
              <a:rPr lang="ru-RU" sz="1050" b="1" dirty="0"/>
            </a:br>
            <a:r>
              <a:rPr lang="ru-RU" sz="1050" b="1" dirty="0"/>
              <a:t>Великобритания</a:t>
            </a:r>
            <a:endParaRPr lang="en-US" sz="1050" b="1" dirty="0"/>
          </a:p>
        </p:txBody>
      </p:sp>
      <p:sp>
        <p:nvSpPr>
          <p:cNvPr id="39" name="Oval 38"/>
          <p:cNvSpPr/>
          <p:nvPr/>
        </p:nvSpPr>
        <p:spPr>
          <a:xfrm>
            <a:off x="5707824" y="1916832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</a:t>
            </a:r>
            <a:br>
              <a:rPr lang="ru-RU" sz="1050" b="1" dirty="0"/>
            </a:br>
            <a:r>
              <a:rPr lang="ru-RU" sz="1050" b="1" dirty="0"/>
              <a:t>Германия</a:t>
            </a:r>
            <a:endParaRPr lang="en-US" sz="1050" b="1" dirty="0"/>
          </a:p>
        </p:txBody>
      </p:sp>
      <p:sp>
        <p:nvSpPr>
          <p:cNvPr id="40" name="Oval 39"/>
          <p:cNvSpPr/>
          <p:nvPr/>
        </p:nvSpPr>
        <p:spPr>
          <a:xfrm>
            <a:off x="5725673" y="3803444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50" b="1" dirty="0"/>
              <a:t>ДО Швейцария</a:t>
            </a:r>
            <a:endParaRPr lang="en-US" sz="1050" b="1" dirty="0"/>
          </a:p>
        </p:txBody>
      </p:sp>
      <p:sp>
        <p:nvSpPr>
          <p:cNvPr id="41" name="Oval 40"/>
          <p:cNvSpPr/>
          <p:nvPr/>
        </p:nvSpPr>
        <p:spPr>
          <a:xfrm>
            <a:off x="7970525" y="3803444"/>
            <a:ext cx="1106218" cy="777684"/>
          </a:xfrm>
          <a:prstGeom prst="ellipse">
            <a:avLst/>
          </a:prstGeom>
          <a:solidFill>
            <a:srgbClr val="409DAD"/>
          </a:solidFill>
          <a:ln w="19050">
            <a:solidFill>
              <a:srgbClr val="007C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0" bIns="54000" rtlCol="0" anchor="ctr"/>
          <a:lstStyle/>
          <a:p>
            <a:pPr algn="ctr"/>
            <a:r>
              <a:rPr lang="ru-RU" sz="1000" b="1" dirty="0"/>
              <a:t>ДО </a:t>
            </a:r>
            <a:r>
              <a:rPr lang="ru-RU" sz="1000" b="1" dirty="0" smtClean="0"/>
              <a:t>Турция</a:t>
            </a:r>
            <a:endParaRPr lang="en-US" sz="1000" b="1" dirty="0"/>
          </a:p>
        </p:txBody>
      </p:sp>
      <p:cxnSp>
        <p:nvCxnSpPr>
          <p:cNvPr id="42" name="Straight Arrow Connector 41"/>
          <p:cNvCxnSpPr/>
          <p:nvPr/>
        </p:nvCxnSpPr>
        <p:spPr>
          <a:xfrm rot="18900000">
            <a:off x="6703843" y="3787888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715250" y="3537385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₣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 Placeholder 10"/>
          <p:cNvSpPr>
            <a:spLocks noGrp="1"/>
          </p:cNvSpPr>
          <p:nvPr/>
        </p:nvSpPr>
        <p:spPr>
          <a:xfrm>
            <a:off x="5125865" y="1916832"/>
            <a:ext cx="507329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778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55600" indent="-1778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US" sz="1000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34988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20725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6pPr>
            <a:lvl7pPr marL="895350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baseline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7pPr>
            <a:lvl8pPr marL="1081088" indent="-18573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–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255713" indent="-1746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97989A"/>
              </a:buClr>
              <a:buFont typeface="Arial" pitchFamily="34" charset="0"/>
              <a:buChar char="■"/>
              <a:defRPr lang="en-GB" sz="1000" kern="120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9pPr>
          </a:lstStyle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  <a:endParaRPr lang="ru-RU" sz="1050" dirty="0">
              <a:latin typeface="Arial" pitchFamily="34" charset="0"/>
            </a:endParaRPr>
          </a:p>
          <a:p>
            <a:pPr marL="0" lvl="2" indent="0">
              <a:spcBef>
                <a:spcPts val="738"/>
              </a:spcBef>
              <a:buNone/>
              <a:defRPr/>
            </a:pPr>
            <a:r>
              <a:rPr lang="ru-RU" sz="1050" dirty="0">
                <a:latin typeface="Arial" pitchFamily="34" charset="0"/>
              </a:rPr>
              <a:t>0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45" name="Text Placeholder 10"/>
          <p:cNvSpPr>
            <a:spLocks noGrp="1"/>
          </p:cNvSpPr>
          <p:nvPr/>
        </p:nvSpPr>
        <p:spPr>
          <a:xfrm>
            <a:off x="9133802" y="1916832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</a:p>
          <a:p>
            <a:pPr marL="0" lvl="2">
              <a:spcBef>
                <a:spcPts val="738"/>
              </a:spcBef>
              <a:defRPr/>
            </a:pPr>
            <a:r>
              <a:rPr lang="ru-RU" sz="1050" dirty="0">
                <a:solidFill>
                  <a:srgbClr val="000000"/>
                </a:solidFill>
                <a:latin typeface="Arial" pitchFamily="34" charset="0"/>
              </a:rPr>
              <a:t>0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46" name="Text Placeholder 10"/>
          <p:cNvSpPr>
            <a:spLocks noGrp="1"/>
          </p:cNvSpPr>
          <p:nvPr/>
        </p:nvSpPr>
        <p:spPr>
          <a:xfrm>
            <a:off x="9133802" y="3803444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</a:p>
          <a:p>
            <a:pPr marL="0" lvl="2">
              <a:spcBef>
                <a:spcPts val="738"/>
              </a:spcBef>
              <a:defRPr/>
            </a:pPr>
            <a:r>
              <a:rPr lang="ru-RU" sz="105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</a:t>
            </a:r>
            <a:endParaRPr lang="en-US"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 Placeholder 10"/>
          <p:cNvSpPr>
            <a:spLocks noGrp="1"/>
          </p:cNvSpPr>
          <p:nvPr/>
        </p:nvSpPr>
        <p:spPr>
          <a:xfrm>
            <a:off x="5127007" y="3800523"/>
            <a:ext cx="541625" cy="708598"/>
          </a:xfrm>
          <a:prstGeom prst="rect">
            <a:avLst/>
          </a:prstGeom>
          <a:ln w="6350">
            <a:solidFill>
              <a:srgbClr val="007C92"/>
            </a:solidFill>
          </a:ln>
        </p:spPr>
        <p:txBody>
          <a:bodyPr lIns="36000" tIns="72000" rIns="36000" bIns="72000" anchor="ctr">
            <a:noAutofit/>
          </a:bodyPr>
          <a:lstStyle/>
          <a:p>
            <a:pPr marL="0" lvl="2">
              <a:spcBef>
                <a:spcPts val="738"/>
              </a:spcBef>
              <a:defRPr/>
            </a:pPr>
            <a:r>
              <a:rPr lang="ru-RU" sz="1050" u="sng" dirty="0">
                <a:solidFill>
                  <a:srgbClr val="000000"/>
                </a:solidFill>
              </a:rPr>
              <a:t>Риски:</a:t>
            </a:r>
          </a:p>
          <a:p>
            <a:pPr marL="0" lvl="2">
              <a:spcBef>
                <a:spcPts val="738"/>
              </a:spcBef>
              <a:defRPr/>
            </a:pPr>
            <a:r>
              <a:rPr lang="ru-RU" sz="1050" dirty="0">
                <a:solidFill>
                  <a:srgbClr val="000000"/>
                </a:solidFill>
                <a:latin typeface="Arial" pitchFamily="34" charset="0"/>
              </a:rPr>
              <a:t>0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6552978" y="2975532"/>
            <a:ext cx="1640382" cy="525476"/>
          </a:xfrm>
          <a:prstGeom prst="roundRect">
            <a:avLst/>
          </a:prstGeom>
          <a:solidFill>
            <a:srgbClr val="AA5CAA"/>
          </a:solidFill>
          <a:ln w="19050">
            <a:solidFill>
              <a:srgbClr val="8E2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b="1" dirty="0"/>
              <a:t>Ре-инвойсинговый центр</a:t>
            </a:r>
            <a:endParaRPr lang="en-US" sz="1100" b="1" dirty="0"/>
          </a:p>
        </p:txBody>
      </p:sp>
      <p:cxnSp>
        <p:nvCxnSpPr>
          <p:cNvPr id="49" name="Straight Arrow Connector 48"/>
          <p:cNvCxnSpPr/>
          <p:nvPr/>
        </p:nvCxnSpPr>
        <p:spPr>
          <a:xfrm rot="2700000" flipH="1">
            <a:off x="7424245" y="3802114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 flipH="1">
            <a:off x="7727196" y="3553415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L</a:t>
            </a:r>
          </a:p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1" name="Straight Arrow Connector 50"/>
          <p:cNvCxnSpPr/>
          <p:nvPr/>
        </p:nvCxnSpPr>
        <p:spPr>
          <a:xfrm rot="18900000" flipH="1" flipV="1">
            <a:off x="7424247" y="2672401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rot="2700000" flipV="1">
            <a:off x="6703843" y="2672401"/>
            <a:ext cx="647986" cy="0"/>
          </a:xfrm>
          <a:prstGeom prst="straightConnector1">
            <a:avLst/>
          </a:prstGeom>
          <a:ln w="57150">
            <a:solidFill>
              <a:srgbClr val="409DA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706453" y="2620569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€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644984" y="2627368"/>
            <a:ext cx="394156" cy="219904"/>
          </a:xfrm>
          <a:prstGeom prst="rect">
            <a:avLst/>
          </a:prstGeom>
          <a:noFill/>
        </p:spPr>
        <p:txBody>
          <a:bodyPr wrap="square" lIns="54000" tIns="54000" rIns="54000" bIns="54000" rtlCol="0">
            <a:noAutofit/>
          </a:bodyPr>
          <a:lstStyle/>
          <a:p>
            <a:pPr algn="ctr"/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rPr>
              <a:t>£ 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>
                <a:solidFill>
                  <a:schemeClr val="bg1"/>
                </a:solidFill>
                <a:latin typeface="+mj-lt"/>
              </a:rPr>
              <a:t>Ре-инвойсинг</a:t>
            </a:r>
          </a:p>
        </p:txBody>
      </p:sp>
      <p:sp>
        <p:nvSpPr>
          <p:cNvPr id="56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45166" y="1093145"/>
            <a:ext cx="4752528" cy="374914"/>
          </a:xfrm>
          <a:prstGeom prst="rect">
            <a:avLst/>
          </a:prstGeom>
          <a:solidFill>
            <a:srgbClr val="00338D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marL="130876" algn="ctr" defTabSz="486978" eaLnBrk="0" hangingPunct="0">
              <a:lnSpc>
                <a:spcPct val="90000"/>
              </a:lnSpc>
              <a:spcBef>
                <a:spcPct val="50000"/>
              </a:spcBef>
            </a:pPr>
            <a:r>
              <a:rPr lang="ru-RU" sz="1200" b="1" dirty="0">
                <a:solidFill>
                  <a:schemeClr val="bg1"/>
                </a:solidFill>
                <a:cs typeface="Calibri" panose="020F0502020204030204" pitchFamily="34" charset="0"/>
              </a:rPr>
              <a:t>Денежные потоки компании без использования ре-инвойсинга</a:t>
            </a:r>
          </a:p>
        </p:txBody>
      </p:sp>
      <p:sp>
        <p:nvSpPr>
          <p:cNvPr id="57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25008" y="1093144"/>
            <a:ext cx="4752528" cy="374914"/>
          </a:xfrm>
          <a:prstGeom prst="rect">
            <a:avLst/>
          </a:prstGeom>
          <a:solidFill>
            <a:srgbClr val="7AB8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Денежные потоки компании с использованием ре-инвойсинга</a:t>
            </a:r>
          </a:p>
        </p:txBody>
      </p:sp>
      <p:sp>
        <p:nvSpPr>
          <p:cNvPr id="58" name="Text Placeholder 2"/>
          <p:cNvSpPr txBox="1">
            <a:spLocks/>
          </p:cNvSpPr>
          <p:nvPr/>
        </p:nvSpPr>
        <p:spPr>
          <a:xfrm>
            <a:off x="233855" y="5013176"/>
            <a:ext cx="9615689" cy="1576169"/>
          </a:xfrm>
          <a:prstGeom prst="rect">
            <a:avLst/>
          </a:prstGeom>
        </p:spPr>
        <p:txBody>
          <a:bodyPr/>
          <a:lstStyle>
            <a:lvl1pPr marL="0" indent="0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Font typeface="Arial" pitchFamily="34" charset="0"/>
              <a:buNone/>
              <a:defRPr lang="en-US" sz="975" b="1" kern="1200" noProof="0" dirty="0" smtClean="0">
                <a:solidFill>
                  <a:srgbClr val="00338D"/>
                </a:solidFill>
                <a:latin typeface="Arial"/>
                <a:ea typeface="+mn-ea"/>
                <a:cs typeface="Arial" pitchFamily="34" charset="0"/>
              </a:defRPr>
            </a:lvl1pPr>
            <a:lvl2pPr marL="0" indent="0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Font typeface="Arial" pitchFamily="34" charset="0"/>
              <a:buNone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2pPr>
            <a:lvl3pPr marL="192616" indent="-19261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3pPr>
            <a:lvl4pPr marL="385231" indent="-19261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US" sz="975" b="0" kern="120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4pPr>
            <a:lvl5pPr marL="579568" indent="-189176" algn="l" defTabSz="990595" rtl="0" eaLnBrk="1" latinLnBrk="0" hangingPunct="1">
              <a:lnSpc>
                <a:spcPct val="10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b="0" kern="1200" baseline="0" noProof="0" dirty="0" smtClean="0">
                <a:solidFill>
                  <a:schemeClr val="tx1"/>
                </a:solidFill>
                <a:latin typeface="Arial"/>
                <a:ea typeface="+mn-ea"/>
                <a:cs typeface="Arial" pitchFamily="34" charset="0"/>
              </a:defRPr>
            </a:lvl5pPr>
            <a:lvl6pPr marL="780781" indent="-201215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GB" sz="975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969958" indent="-189176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1171172" indent="-201215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–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1360348" indent="-189176" algn="l" defTabSz="990595" rtl="0" eaLnBrk="1" latinLnBrk="0" hangingPunct="1">
              <a:lnSpc>
                <a:spcPct val="110000"/>
              </a:lnSpc>
              <a:spcBef>
                <a:spcPts val="650"/>
              </a:spcBef>
              <a:buClr>
                <a:srgbClr val="97989A"/>
              </a:buClr>
              <a:buFont typeface="Arial" pitchFamily="34" charset="0"/>
              <a:buChar char="■"/>
              <a:defRPr lang="en-GB" sz="975" kern="1200" baseline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ru-RU" sz="1400" dirty="0" smtClean="0">
                <a:solidFill>
                  <a:schemeClr val="bg1"/>
                </a:solidFill>
              </a:rPr>
              <a:t>Преимущества ре-инвойсинга</a:t>
            </a:r>
          </a:p>
          <a:p>
            <a:pPr marL="228600" indent="-228600">
              <a:spcBef>
                <a:spcPts val="600"/>
              </a:spcBef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>
                <a:solidFill>
                  <a:schemeClr val="bg1"/>
                </a:solidFill>
              </a:rPr>
              <a:t>Минимизация валютных рисков за счет централизованного управления хеджированием</a:t>
            </a:r>
          </a:p>
          <a:p>
            <a:pPr marL="228600" indent="-228600">
              <a:spcBef>
                <a:spcPts val="600"/>
              </a:spcBef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 smtClean="0">
                <a:solidFill>
                  <a:schemeClr val="bg1"/>
                </a:solidFill>
              </a:rPr>
              <a:t>Снижение </a:t>
            </a:r>
            <a:r>
              <a:rPr lang="ru-RU" sz="1050" b="0" dirty="0">
                <a:solidFill>
                  <a:schemeClr val="bg1"/>
                </a:solidFill>
              </a:rPr>
              <a:t>затрат на операции хеджирования</a:t>
            </a:r>
          </a:p>
          <a:p>
            <a:pPr marL="228600" indent="-228600">
              <a:spcBef>
                <a:spcPts val="600"/>
              </a:spcBef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 smtClean="0">
                <a:solidFill>
                  <a:schemeClr val="bg1"/>
                </a:solidFill>
              </a:rPr>
              <a:t>Возможность </a:t>
            </a:r>
            <a:r>
              <a:rPr lang="ru-RU" sz="1050" b="0" dirty="0">
                <a:solidFill>
                  <a:schemeClr val="bg1"/>
                </a:solidFill>
              </a:rPr>
              <a:t>концентрации квалифицированного персонала в области хеджирования в отдельной структурной единице</a:t>
            </a:r>
          </a:p>
          <a:p>
            <a:pPr marL="228600" indent="-228600">
              <a:spcBef>
                <a:spcPts val="600"/>
              </a:spcBef>
              <a:buClr>
                <a:schemeClr val="bg1"/>
              </a:buClr>
              <a:buSzPct val="150000"/>
              <a:buFont typeface="Wingdings" panose="05000000000000000000" pitchFamily="2" charset="2"/>
              <a:buChar char="ü"/>
            </a:pPr>
            <a:r>
              <a:rPr lang="ru-RU" sz="1050" b="0" dirty="0" smtClean="0">
                <a:solidFill>
                  <a:schemeClr val="bg1"/>
                </a:solidFill>
              </a:rPr>
              <a:t>Возможность </a:t>
            </a:r>
            <a:r>
              <a:rPr lang="ru-RU" sz="1050" b="0" dirty="0">
                <a:solidFill>
                  <a:schemeClr val="bg1"/>
                </a:solidFill>
              </a:rPr>
              <a:t>совершения операций хеджирования в банках с высоким кредитным рейтингом</a:t>
            </a:r>
          </a:p>
        </p:txBody>
      </p:sp>
    </p:spTree>
    <p:extLst>
      <p:ext uri="{BB962C8B-B14F-4D97-AF65-F5344CB8AC3E}">
        <p14:creationId xmlns:p14="http://schemas.microsoft.com/office/powerpoint/2010/main" val="108876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>
          <a:xfrm>
            <a:off x="2140143" y="2441581"/>
            <a:ext cx="5649787" cy="2241998"/>
          </a:xfrm>
          <a:prstGeom prst="roundRect">
            <a:avLst/>
          </a:prstGeom>
          <a:gradFill>
            <a:gsLst>
              <a:gs pos="0">
                <a:srgbClr val="E5F2F4"/>
              </a:gs>
              <a:gs pos="100000">
                <a:srgbClr val="BFDEE4"/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2633316" y="2777116"/>
            <a:ext cx="4663441" cy="1570928"/>
          </a:xfrm>
          <a:prstGeom prst="rect">
            <a:avLst/>
          </a:prstGeom>
          <a:solidFill>
            <a:schemeClr val="bg1"/>
          </a:solidFill>
          <a:ln>
            <a:solidFill>
              <a:srgbClr val="1999D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 txBox="1">
            <a:spLocks/>
          </p:cNvSpPr>
          <p:nvPr/>
        </p:nvSpPr>
        <p:spPr bwMode="gray">
          <a:xfrm>
            <a:off x="56456" y="563360"/>
            <a:ext cx="8352928" cy="468594"/>
          </a:xfrm>
          <a:prstGeom prst="rect">
            <a:avLst/>
          </a:prstGeom>
        </p:spPr>
        <p:txBody>
          <a:bodyPr/>
          <a:lstStyle>
            <a:lvl1pPr algn="l" defTabSz="844083" rtl="0" eaLnBrk="1" latinLnBrk="0" hangingPunct="1">
              <a:spcBef>
                <a:spcPct val="0"/>
              </a:spcBef>
              <a:buNone/>
              <a:defRPr lang="en-GB" sz="1477" b="1" kern="1200" noProof="0" dirty="0" smtClean="0">
                <a:solidFill>
                  <a:srgbClr val="00338D"/>
                </a:solidFill>
                <a:latin typeface="Arial"/>
                <a:ea typeface="+mj-ea"/>
                <a:cs typeface="Arial" pitchFamily="34" charset="0"/>
              </a:defRPr>
            </a:lvl1pPr>
            <a:lvl2pPr eaLnBrk="1" hangingPunct="1">
              <a:defRPr sz="1477" b="1">
                <a:solidFill>
                  <a:srgbClr val="00338D"/>
                </a:solidFill>
                <a:latin typeface="+mj-lt"/>
              </a:defRPr>
            </a:lvl2pPr>
            <a:lvl3pPr eaLnBrk="1" hangingPunct="1">
              <a:defRPr sz="1477" b="1">
                <a:solidFill>
                  <a:srgbClr val="00338D"/>
                </a:solidFill>
                <a:latin typeface="+mj-lt"/>
              </a:defRPr>
            </a:lvl3pPr>
            <a:lvl4pPr eaLnBrk="1" hangingPunct="1">
              <a:defRPr sz="1477" b="1">
                <a:solidFill>
                  <a:srgbClr val="00338D"/>
                </a:solidFill>
                <a:latin typeface="+mj-lt"/>
              </a:defRPr>
            </a:lvl4pPr>
            <a:lvl5pPr eaLnBrk="1" hangingPunct="1">
              <a:defRPr sz="1477" b="1">
                <a:solidFill>
                  <a:srgbClr val="00338D"/>
                </a:solidFill>
                <a:latin typeface="+mj-lt"/>
              </a:defRPr>
            </a:lvl5pPr>
            <a:lvl6pPr eaLnBrk="1" hangingPunct="1">
              <a:defRPr sz="1477" b="1">
                <a:solidFill>
                  <a:srgbClr val="00338D"/>
                </a:solidFill>
                <a:latin typeface="+mj-lt"/>
              </a:defRPr>
            </a:lvl6pPr>
            <a:lvl7pPr eaLnBrk="1" hangingPunct="1">
              <a:defRPr sz="1477" b="1">
                <a:solidFill>
                  <a:srgbClr val="00338D"/>
                </a:solidFill>
                <a:latin typeface="+mj-lt"/>
              </a:defRPr>
            </a:lvl7pPr>
            <a:lvl8pPr eaLnBrk="1" hangingPunct="1">
              <a:defRPr sz="1477" b="1">
                <a:solidFill>
                  <a:srgbClr val="00338D"/>
                </a:solidFill>
                <a:latin typeface="+mj-lt"/>
              </a:defRPr>
            </a:lvl8pPr>
            <a:lvl9pPr eaLnBrk="1" hangingPunct="1">
              <a:defRPr sz="1477" b="1">
                <a:solidFill>
                  <a:srgbClr val="00338D"/>
                </a:solidFill>
                <a:latin typeface="+mj-lt"/>
              </a:defRPr>
            </a:lvl9pPr>
          </a:lstStyle>
          <a:p>
            <a:r>
              <a:rPr lang="ru-RU" sz="1480" dirty="0" smtClean="0">
                <a:solidFill>
                  <a:schemeClr val="bg1"/>
                </a:solidFill>
                <a:latin typeface="+mj-lt"/>
              </a:rPr>
              <a:t>Преимущества ре-инвойсинга</a:t>
            </a:r>
            <a:endParaRPr lang="ru-RU" sz="1480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28464" y="980728"/>
            <a:ext cx="4476364" cy="1399094"/>
            <a:chOff x="128464" y="980728"/>
            <a:chExt cx="4476364" cy="1849470"/>
          </a:xfrm>
        </p:grpSpPr>
        <p:grpSp>
          <p:nvGrpSpPr>
            <p:cNvPr id="51" name="Group 50"/>
            <p:cNvGrpSpPr/>
            <p:nvPr/>
          </p:nvGrpSpPr>
          <p:grpSpPr>
            <a:xfrm>
              <a:off x="128464" y="980728"/>
              <a:ext cx="4023360" cy="294269"/>
              <a:chOff x="354675" y="986364"/>
              <a:chExt cx="5830086" cy="426413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755341" y="1052737"/>
                <a:ext cx="504057" cy="360040"/>
              </a:xfrm>
              <a:prstGeom prst="rect">
                <a:avLst/>
              </a:prstGeom>
              <a:noFill/>
            </p:spPr>
            <p:txBody>
              <a:bodyPr wrap="square" lIns="54000" tIns="54000" rIns="54000" bIns="54000" rtlCol="0">
                <a:noAutofit/>
              </a:bodyPr>
              <a:lstStyle/>
              <a:p>
                <a:endParaRPr lang="en-US" sz="9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4" name="Rectangle 53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54675" y="986364"/>
                <a:ext cx="5830086" cy="346232"/>
              </a:xfrm>
              <a:prstGeom prst="rect">
                <a:avLst/>
              </a:prstGeom>
              <a:solidFill>
                <a:srgbClr val="8E258D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/>
              <a:p>
                <a:pPr algn="ctr"/>
                <a:r>
                  <a:rPr lang="ru-RU" sz="1050" b="1" dirty="0">
                    <a:solidFill>
                      <a:schemeClr val="bg1"/>
                    </a:solidFill>
                  </a:rPr>
                  <a:t>Денежные </a:t>
                </a:r>
                <a:r>
                  <a:rPr lang="ru-RU" sz="1050" b="1" dirty="0">
                    <a:solidFill>
                      <a:schemeClr val="bg1"/>
                    </a:solidFill>
                  </a:rPr>
                  <a:t>потоки ДО 1 в </a:t>
                </a:r>
                <a:r>
                  <a:rPr lang="en-US" sz="1050" b="1" dirty="0">
                    <a:solidFill>
                      <a:schemeClr val="bg1"/>
                    </a:solidFill>
                  </a:rPr>
                  <a:t>USD</a:t>
                </a:r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</p:grpSp>
        <p:graphicFrame>
          <p:nvGraphicFramePr>
            <p:cNvPr id="43" name="Chart 4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82660426"/>
                </p:ext>
              </p:extLst>
            </p:nvPr>
          </p:nvGraphicFramePr>
          <p:xfrm>
            <a:off x="284507" y="1196752"/>
            <a:ext cx="3584448" cy="16334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9" name="TextBox 58"/>
            <p:cNvSpPr txBox="1"/>
            <p:nvPr/>
          </p:nvSpPr>
          <p:spPr>
            <a:xfrm>
              <a:off x="3690428" y="1341935"/>
              <a:ext cx="914400" cy="914400"/>
            </a:xfrm>
            <a:prstGeom prst="rect">
              <a:avLst/>
            </a:prstGeom>
            <a:noFill/>
          </p:spPr>
          <p:txBody>
            <a:bodyPr vert="vert270" wrap="none" lIns="54000" tIns="54000" rIns="54000" bIns="54000" rtlCol="0">
              <a:noAutofit/>
            </a:bodyPr>
            <a:lstStyle/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ысокая</a:t>
              </a:r>
            </a:p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олатильность</a:t>
              </a:r>
              <a:endParaRPr lang="en-US" sz="800" b="1" i="1" dirty="0" err="1" smtClean="0">
                <a:solidFill>
                  <a:srgbClr val="9E3039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2" name="Straight Arrow Connector 61"/>
            <p:cNvCxnSpPr/>
            <p:nvPr/>
          </p:nvCxnSpPr>
          <p:spPr>
            <a:xfrm>
              <a:off x="3684566" y="1376571"/>
              <a:ext cx="0" cy="822960"/>
            </a:xfrm>
            <a:prstGeom prst="straightConnector1">
              <a:avLst/>
            </a:prstGeom>
            <a:ln w="19050">
              <a:solidFill>
                <a:srgbClr val="9E30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/>
          <p:cNvGrpSpPr/>
          <p:nvPr/>
        </p:nvGrpSpPr>
        <p:grpSpPr>
          <a:xfrm>
            <a:off x="5778251" y="980728"/>
            <a:ext cx="4464995" cy="1412563"/>
            <a:chOff x="128464" y="2776033"/>
            <a:chExt cx="4464995" cy="1867275"/>
          </a:xfrm>
        </p:grpSpPr>
        <p:grpSp>
          <p:nvGrpSpPr>
            <p:cNvPr id="47" name="Group 46"/>
            <p:cNvGrpSpPr/>
            <p:nvPr/>
          </p:nvGrpSpPr>
          <p:grpSpPr>
            <a:xfrm>
              <a:off x="128464" y="2776033"/>
              <a:ext cx="4023360" cy="294269"/>
              <a:chOff x="354675" y="986364"/>
              <a:chExt cx="5830086" cy="426413"/>
            </a:xfrm>
          </p:grpSpPr>
          <p:sp>
            <p:nvSpPr>
              <p:cNvPr id="49" name="TextBox 48"/>
              <p:cNvSpPr txBox="1"/>
              <p:nvPr/>
            </p:nvSpPr>
            <p:spPr>
              <a:xfrm>
                <a:off x="755341" y="1052737"/>
                <a:ext cx="504057" cy="360040"/>
              </a:xfrm>
              <a:prstGeom prst="rect">
                <a:avLst/>
              </a:prstGeom>
              <a:noFill/>
            </p:spPr>
            <p:txBody>
              <a:bodyPr wrap="square" lIns="54000" tIns="54000" rIns="54000" bIns="54000" rtlCol="0">
                <a:noAutofit/>
              </a:bodyPr>
              <a:lstStyle/>
              <a:p>
                <a:endParaRPr lang="en-US" sz="9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50" name="Rectangle 49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54675" y="986364"/>
                <a:ext cx="5830086" cy="346232"/>
              </a:xfrm>
              <a:prstGeom prst="rect">
                <a:avLst/>
              </a:prstGeom>
              <a:solidFill>
                <a:srgbClr val="007C92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/>
              <a:p>
                <a:pPr algn="ctr"/>
                <a:r>
                  <a:rPr lang="ru-RU" sz="1050" b="1" dirty="0">
                    <a:solidFill>
                      <a:schemeClr val="bg1"/>
                    </a:solidFill>
                  </a:rPr>
                  <a:t>Денежные </a:t>
                </a:r>
                <a:r>
                  <a:rPr lang="ru-RU" sz="1050" b="1" dirty="0" smtClean="0">
                    <a:solidFill>
                      <a:schemeClr val="bg1"/>
                    </a:solidFill>
                  </a:rPr>
                  <a:t>потоки ДО 2 </a:t>
                </a:r>
                <a:r>
                  <a:rPr lang="ru-RU" sz="1050" b="1" dirty="0" smtClean="0">
                    <a:solidFill>
                      <a:schemeClr val="bg1"/>
                    </a:solidFill>
                  </a:rPr>
                  <a:t>в </a:t>
                </a:r>
                <a:r>
                  <a:rPr lang="en-US" sz="1050" b="1" dirty="0" smtClean="0">
                    <a:solidFill>
                      <a:schemeClr val="bg1"/>
                    </a:solidFill>
                  </a:rPr>
                  <a:t>EUR</a:t>
                </a:r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</p:grpSp>
        <p:graphicFrame>
          <p:nvGraphicFramePr>
            <p:cNvPr id="44" name="Chart 4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1323949"/>
                </p:ext>
              </p:extLst>
            </p:nvPr>
          </p:nvGraphicFramePr>
          <p:xfrm>
            <a:off x="284507" y="2990063"/>
            <a:ext cx="3584448" cy="165324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60" name="TextBox 59"/>
            <p:cNvSpPr txBox="1"/>
            <p:nvPr/>
          </p:nvSpPr>
          <p:spPr>
            <a:xfrm>
              <a:off x="3679059" y="3115383"/>
              <a:ext cx="914400" cy="914400"/>
            </a:xfrm>
            <a:prstGeom prst="rect">
              <a:avLst/>
            </a:prstGeom>
            <a:noFill/>
          </p:spPr>
          <p:txBody>
            <a:bodyPr vert="vert270" wrap="none" lIns="54000" tIns="54000" rIns="54000" bIns="54000" rtlCol="0">
              <a:noAutofit/>
            </a:bodyPr>
            <a:lstStyle/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ысокая</a:t>
              </a:r>
            </a:p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олатильность</a:t>
              </a:r>
              <a:endParaRPr lang="en-US" sz="800" b="1" i="1" dirty="0" err="1" smtClean="0">
                <a:solidFill>
                  <a:srgbClr val="9E3039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3" name="Straight Arrow Connector 62"/>
            <p:cNvCxnSpPr/>
            <p:nvPr/>
          </p:nvCxnSpPr>
          <p:spPr>
            <a:xfrm>
              <a:off x="3684566" y="3261181"/>
              <a:ext cx="0" cy="703709"/>
            </a:xfrm>
            <a:prstGeom prst="straightConnector1">
              <a:avLst/>
            </a:prstGeom>
            <a:ln w="19050">
              <a:solidFill>
                <a:srgbClr val="9E30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/>
          <p:cNvGrpSpPr/>
          <p:nvPr/>
        </p:nvGrpSpPr>
        <p:grpSpPr>
          <a:xfrm>
            <a:off x="2936776" y="5148772"/>
            <a:ext cx="4519916" cy="1304564"/>
            <a:chOff x="128464" y="4617141"/>
            <a:chExt cx="4519916" cy="1724511"/>
          </a:xfrm>
        </p:grpSpPr>
        <p:grpSp>
          <p:nvGrpSpPr>
            <p:cNvPr id="16" name="Group 15"/>
            <p:cNvGrpSpPr/>
            <p:nvPr/>
          </p:nvGrpSpPr>
          <p:grpSpPr>
            <a:xfrm>
              <a:off x="128464" y="4617141"/>
              <a:ext cx="4023360" cy="284351"/>
              <a:chOff x="354675" y="1052737"/>
              <a:chExt cx="5830086" cy="412041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755341" y="1052737"/>
                <a:ext cx="504057" cy="360040"/>
              </a:xfrm>
              <a:prstGeom prst="rect">
                <a:avLst/>
              </a:prstGeom>
              <a:noFill/>
            </p:spPr>
            <p:txBody>
              <a:bodyPr wrap="square" lIns="54000" tIns="54000" rIns="54000" bIns="54000" rtlCol="0">
                <a:noAutofit/>
              </a:bodyPr>
              <a:lstStyle/>
              <a:p>
                <a:endParaRPr lang="en-US" sz="900" dirty="0" smtClean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9" name="Rectangle 18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354675" y="1118546"/>
                <a:ext cx="5830086" cy="346232"/>
              </a:xfrm>
              <a:prstGeom prst="rect">
                <a:avLst/>
              </a:prstGeom>
              <a:solidFill>
                <a:srgbClr val="C84E00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wrap="square" anchor="ctr" anchorCtr="0">
                <a:noAutofit/>
              </a:bodyPr>
              <a:lstStyle/>
              <a:p>
                <a:pPr algn="ctr"/>
                <a:r>
                  <a:rPr lang="ru-RU" sz="1050" b="1" dirty="0">
                    <a:solidFill>
                      <a:schemeClr val="bg1"/>
                    </a:solidFill>
                  </a:rPr>
                  <a:t>Денежные </a:t>
                </a:r>
                <a:r>
                  <a:rPr lang="ru-RU" sz="1050" b="1" dirty="0" smtClean="0">
                    <a:solidFill>
                      <a:schemeClr val="bg1"/>
                    </a:solidFill>
                  </a:rPr>
                  <a:t>потоки ДО 3 </a:t>
                </a:r>
                <a:r>
                  <a:rPr lang="ru-RU" sz="1050" b="1" dirty="0" smtClean="0">
                    <a:solidFill>
                      <a:schemeClr val="bg1"/>
                    </a:solidFill>
                  </a:rPr>
                  <a:t>в </a:t>
                </a:r>
                <a:r>
                  <a:rPr lang="en-US" sz="1050" b="1" dirty="0" smtClean="0">
                    <a:solidFill>
                      <a:schemeClr val="bg1"/>
                    </a:solidFill>
                  </a:rPr>
                  <a:t>GBP</a:t>
                </a:r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</p:grpSp>
        <p:graphicFrame>
          <p:nvGraphicFramePr>
            <p:cNvPr id="45" name="Chart 4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82781222"/>
                </p:ext>
              </p:extLst>
            </p:nvPr>
          </p:nvGraphicFramePr>
          <p:xfrm>
            <a:off x="284507" y="4876563"/>
            <a:ext cx="3588373" cy="14650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1" name="TextBox 60"/>
            <p:cNvSpPr txBox="1"/>
            <p:nvPr/>
          </p:nvSpPr>
          <p:spPr>
            <a:xfrm>
              <a:off x="3733980" y="4995204"/>
              <a:ext cx="914400" cy="914400"/>
            </a:xfrm>
            <a:prstGeom prst="rect">
              <a:avLst/>
            </a:prstGeom>
            <a:noFill/>
          </p:spPr>
          <p:txBody>
            <a:bodyPr vert="vert270" wrap="none" lIns="54000" tIns="54000" rIns="54000" bIns="54000" rtlCol="0">
              <a:noAutofit/>
            </a:bodyPr>
            <a:lstStyle/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ысокая</a:t>
              </a:r>
            </a:p>
            <a:p>
              <a:pPr algn="ctr"/>
              <a:r>
                <a:rPr lang="ru-RU" sz="800" b="1" i="1" dirty="0" smtClean="0">
                  <a:solidFill>
                    <a:srgbClr val="9E3039"/>
                  </a:solidFill>
                  <a:latin typeface="Arial" pitchFamily="34" charset="0"/>
                  <a:cs typeface="Arial" pitchFamily="34" charset="0"/>
                </a:rPr>
                <a:t>волатильность</a:t>
              </a:r>
              <a:endParaRPr lang="en-US" sz="800" b="1" i="1" dirty="0" err="1" smtClean="0">
                <a:solidFill>
                  <a:srgbClr val="9E3039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5" name="Straight Arrow Connector 64"/>
            <p:cNvCxnSpPr/>
            <p:nvPr/>
          </p:nvCxnSpPr>
          <p:spPr>
            <a:xfrm>
              <a:off x="3684566" y="5157371"/>
              <a:ext cx="0" cy="523923"/>
            </a:xfrm>
            <a:prstGeom prst="straightConnector1">
              <a:avLst/>
            </a:prstGeom>
            <a:ln w="19050">
              <a:solidFill>
                <a:srgbClr val="9E303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4" name="Chart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5337651"/>
              </p:ext>
            </p:extLst>
          </p:nvPr>
        </p:nvGraphicFramePr>
        <p:xfrm>
          <a:off x="2920288" y="3060997"/>
          <a:ext cx="3821923" cy="1314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75" name="Straight Arrow Connector 74"/>
          <p:cNvCxnSpPr/>
          <p:nvPr/>
        </p:nvCxnSpPr>
        <p:spPr>
          <a:xfrm>
            <a:off x="6542278" y="3219758"/>
            <a:ext cx="0" cy="360102"/>
          </a:xfrm>
          <a:prstGeom prst="straightConnector1">
            <a:avLst/>
          </a:prstGeom>
          <a:ln w="19050">
            <a:solidFill>
              <a:srgbClr val="9E303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33316" y="2777116"/>
            <a:ext cx="4663440" cy="259542"/>
          </a:xfrm>
          <a:prstGeom prst="rect">
            <a:avLst/>
          </a:prstGeom>
          <a:solidFill>
            <a:srgbClr val="00338D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Суммарный денежный поток при </a:t>
            </a:r>
            <a:r>
              <a:rPr lang="ru-RU" sz="1100" b="1" dirty="0" smtClean="0">
                <a:solidFill>
                  <a:schemeClr val="bg1"/>
                </a:solidFill>
              </a:rPr>
              <a:t>ре-</a:t>
            </a:r>
            <a:r>
              <a:rPr lang="ru-RU" sz="1100" b="1" dirty="0" err="1" smtClean="0">
                <a:solidFill>
                  <a:schemeClr val="bg1"/>
                </a:solidFill>
              </a:rPr>
              <a:t>инвойсинге</a:t>
            </a:r>
            <a:r>
              <a:rPr lang="ru-RU" sz="1100" b="1" dirty="0" smtClean="0">
                <a:solidFill>
                  <a:schemeClr val="bg1"/>
                </a:solidFill>
              </a:rPr>
              <a:t>, </a:t>
            </a:r>
            <a:r>
              <a:rPr lang="ru-RU" sz="1100" b="1" dirty="0" err="1" smtClean="0">
                <a:solidFill>
                  <a:schemeClr val="bg1"/>
                </a:solidFill>
              </a:rPr>
              <a:t>экв</a:t>
            </a:r>
            <a:r>
              <a:rPr lang="ru-RU" sz="1100" b="1" dirty="0" smtClean="0">
                <a:solidFill>
                  <a:schemeClr val="bg1"/>
                </a:solidFill>
              </a:rPr>
              <a:t>. </a:t>
            </a:r>
            <a:r>
              <a:rPr lang="en-US" sz="1100" b="1" dirty="0" smtClean="0">
                <a:solidFill>
                  <a:schemeClr val="bg1"/>
                </a:solidFill>
              </a:rPr>
              <a:t>USD</a:t>
            </a:r>
            <a:r>
              <a:rPr lang="ru-RU" sz="1100" b="1" dirty="0" smtClean="0">
                <a:solidFill>
                  <a:schemeClr val="bg1"/>
                </a:solidFill>
              </a:rPr>
              <a:t>*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6" name="Rounded Rectangular Callout 5"/>
          <p:cNvSpPr/>
          <p:nvPr/>
        </p:nvSpPr>
        <p:spPr>
          <a:xfrm>
            <a:off x="7062022" y="2957153"/>
            <a:ext cx="1152128" cy="525209"/>
          </a:xfrm>
          <a:prstGeom prst="wedgeRoundRectCallout">
            <a:avLst>
              <a:gd name="adj1" fmla="val -95551"/>
              <a:gd name="adj2" fmla="val 43392"/>
              <a:gd name="adj3" fmla="val 16667"/>
            </a:avLst>
          </a:prstGeom>
          <a:gradFill flip="none" rotWithShape="1">
            <a:gsLst>
              <a:gs pos="0">
                <a:srgbClr val="184595"/>
              </a:gs>
              <a:gs pos="100000">
                <a:srgbClr val="189BD4"/>
              </a:gs>
            </a:gsLst>
            <a:lin ang="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/>
              <a:t>Снижение волатильности</a:t>
            </a:r>
            <a:endParaRPr lang="en-US" sz="1000" b="1" dirty="0"/>
          </a:p>
        </p:txBody>
      </p:sp>
      <p:sp>
        <p:nvSpPr>
          <p:cNvPr id="79" name="TextBox 78"/>
          <p:cNvSpPr txBox="1"/>
          <p:nvPr/>
        </p:nvSpPr>
        <p:spPr>
          <a:xfrm>
            <a:off x="2600477" y="4327910"/>
            <a:ext cx="4310307" cy="191459"/>
          </a:xfrm>
          <a:prstGeom prst="rect">
            <a:avLst/>
          </a:prstGeom>
          <a:noFill/>
        </p:spPr>
        <p:txBody>
          <a:bodyPr wrap="none" lIns="54000" tIns="54000" rIns="54000" bIns="54000" rtlCol="0">
            <a:noAutofit/>
          </a:bodyPr>
          <a:lstStyle/>
          <a:p>
            <a:r>
              <a:rPr lang="ru-RU" sz="900" i="1" dirty="0" smtClean="0">
                <a:latin typeface="Arial" pitchFamily="34" charset="0"/>
                <a:cs typeface="Arial" pitchFamily="34" charset="0"/>
              </a:rPr>
              <a:t>*Индикативный курс </a:t>
            </a:r>
            <a:r>
              <a:rPr lang="en-US" sz="900" i="1" dirty="0" smtClean="0">
                <a:latin typeface="Arial" pitchFamily="34" charset="0"/>
                <a:cs typeface="Arial" pitchFamily="34" charset="0"/>
              </a:rPr>
              <a:t>EUR/USD 1.1, GBP/USD 1.4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2140144" y="2283890"/>
            <a:ext cx="504056" cy="329098"/>
          </a:xfrm>
          <a:prstGeom prst="straightConnector1">
            <a:avLst/>
          </a:prstGeom>
          <a:ln w="31750">
            <a:solidFill>
              <a:schemeClr val="accent4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 flipH="1">
            <a:off x="7285875" y="2283890"/>
            <a:ext cx="504056" cy="329098"/>
          </a:xfrm>
          <a:prstGeom prst="straightConnector1">
            <a:avLst/>
          </a:prstGeom>
          <a:ln w="31750">
            <a:solidFill>
              <a:schemeClr val="accent4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5019192" y="4581128"/>
            <a:ext cx="0" cy="548640"/>
          </a:xfrm>
          <a:prstGeom prst="straightConnector1">
            <a:avLst/>
          </a:prstGeom>
          <a:ln w="31750">
            <a:solidFill>
              <a:schemeClr val="accent4"/>
            </a:solidFill>
            <a:tailEnd type="triangl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0805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dirty="0" smtClean="0"/>
              <a:t>Инновационные казначейские </a:t>
            </a:r>
            <a:r>
              <a:rPr lang="ru-RU" dirty="0" smtClean="0"/>
              <a:t>инструменты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76536" y="3789040"/>
            <a:ext cx="2952328" cy="1079500"/>
          </a:xfrm>
        </p:spPr>
        <p:txBody>
          <a:bodyPr/>
          <a:lstStyle/>
          <a:p>
            <a:pPr marL="0" indent="0"/>
            <a:r>
              <a:rPr lang="ru-RU" sz="2000" b="1" dirty="0" smtClean="0"/>
              <a:t>2.2 </a:t>
            </a:r>
            <a:r>
              <a:rPr lang="ru-RU" sz="2000" b="1" dirty="0" smtClean="0"/>
              <a:t>Неттинг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329825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Appendix"/>
  <p:tag name="FASLAYOUTGRI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appendix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appendi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COPYRIGH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appendix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non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no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non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odyTwoCol"/>
  <p:tag name="FASLAYOUTGRI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FILEPATH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ZBcdoP0CV9GbpLoI2E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BRARYTYPE" val="BuildIn"/>
  <p:tag name="NAME" val="Head Office (Building)"/>
  <p:tag name="TYPEID" val="6d184f35-3000-4d20-9ccc-3723758a2c94"/>
  <p:tag name="CATEGORY" val="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1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non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S_GRID_TYPE" val="bgs_grid_report_body"/>
</p:tagLst>
</file>

<file path=ppt/theme/theme1.xml><?xml version="1.0" encoding="utf-8"?>
<a:theme xmlns:a="http://schemas.openxmlformats.org/drawingml/2006/main" name="13_CREATE REPORT A4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</a:theme>
</file>

<file path=ppt/theme/theme2.xml><?xml version="1.0" encoding="utf-8"?>
<a:theme xmlns:a="http://schemas.openxmlformats.org/drawingml/2006/main" name="CREATE SCREEN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54000" tIns="54000" rIns="54000" bIns="54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000" tIns="54000" rIns="54000" bIns="54000" rtlCol="0">
        <a:no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  <a:extLst>
    <a:ext uri="{05A4C25C-085E-4340-85A3-A5531E510DB2}">
      <thm15:themeFamily xmlns:thm15="http://schemas.microsoft.com/office/thememl/2012/main" name="Screen_JSC_r" id="{AF54564A-E23C-4214-A053-3522A94C2476}" vid="{BFD04F56-5E20-4725-892B-573F2C5CDC45}"/>
    </a:ext>
  </a:extLst>
</a:theme>
</file>

<file path=ppt/theme/theme3.xml><?xml version="1.0" encoding="utf-8"?>
<a:theme xmlns:a="http://schemas.openxmlformats.org/drawingml/2006/main" name="CREATE REPORT A4">
  <a:themeElements>
    <a:clrScheme name="KPMG Colours">
      <a:dk1>
        <a:srgbClr val="000000"/>
      </a:dk1>
      <a:lt1>
        <a:srgbClr val="FFFFFF"/>
      </a:lt1>
      <a:dk2>
        <a:srgbClr val="007C92"/>
      </a:dk2>
      <a:lt2>
        <a:srgbClr val="747678"/>
      </a:lt2>
      <a:accent1>
        <a:srgbClr val="8E258D"/>
      </a:accent1>
      <a:accent2>
        <a:srgbClr val="A79E70"/>
      </a:accent2>
      <a:accent3>
        <a:srgbClr val="7AB800"/>
      </a:accent3>
      <a:accent4>
        <a:srgbClr val="00338D"/>
      </a:accent4>
      <a:accent5>
        <a:srgbClr val="C84E00"/>
      </a:accent5>
      <a:accent6>
        <a:srgbClr val="EBB700"/>
      </a:accent6>
      <a:hlink>
        <a:srgbClr val="007C92"/>
      </a:hlink>
      <a:folHlink>
        <a:srgbClr val="8E258D"/>
      </a:folHlink>
    </a:clrScheme>
    <a:fontScheme name="KPMG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PMG Theme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rnd" cmpd="sng" algn="ctr">
          <a:solidFill>
            <a:schemeClr val="phClr"/>
          </a:solidFill>
          <a:prstDash val="solid"/>
        </a:ln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4767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9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KPMG Colours">
        <a:dk1>
          <a:srgbClr val="000000"/>
        </a:dk1>
        <a:lt1>
          <a:srgbClr val="FFFFFF"/>
        </a:lt1>
        <a:dk2>
          <a:srgbClr val="007C92"/>
        </a:dk2>
        <a:lt2>
          <a:srgbClr val="747678"/>
        </a:lt2>
        <a:accent1>
          <a:srgbClr val="8E258D"/>
        </a:accent1>
        <a:accent2>
          <a:srgbClr val="A79E70"/>
        </a:accent2>
        <a:accent3>
          <a:srgbClr val="7AB800"/>
        </a:accent3>
        <a:accent4>
          <a:srgbClr val="00338D"/>
        </a:accent4>
        <a:accent5>
          <a:srgbClr val="C84E00"/>
        </a:accent5>
        <a:accent6>
          <a:srgbClr val="EBB700"/>
        </a:accent6>
        <a:hlink>
          <a:srgbClr val="007C92"/>
        </a:hlink>
        <a:folHlink>
          <a:srgbClr val="8E258D"/>
        </a:folHlink>
      </a:clrScheme>
    </a:extraClrScheme>
  </a:extraClrSchemeLst>
  <a:custClrLst>
    <a:custClr name="Turquoise 100%">
      <a:srgbClr val="007C92"/>
    </a:custClr>
    <a:custClr name="Deep Purple 100%">
      <a:srgbClr val="8E258D"/>
    </a:custClr>
    <a:custClr name="Tan 100%">
      <a:srgbClr val="A79E70"/>
    </a:custClr>
    <a:custClr name="Bright Green 100%">
      <a:srgbClr val="7AB800"/>
    </a:custClr>
    <a:custClr name="Deep Blue 100%">
      <a:srgbClr val="00338D"/>
    </a:custClr>
    <a:custClr name="Orange 100%">
      <a:srgbClr val="C84E00"/>
    </a:custClr>
    <a:custClr name="Bright Yellow 100%">
      <a:srgbClr val="EBB700"/>
    </a:custClr>
    <a:custClr name="Powder Blue 100%">
      <a:srgbClr val="98C6EA"/>
    </a:custClr>
    <a:custClr name="Gray 100%">
      <a:srgbClr val="747678"/>
    </a:custClr>
    <a:custClr name="Red 100%">
      <a:srgbClr val="9E3039"/>
    </a:custClr>
    <a:custClr name="Turquoise 75%">
      <a:srgbClr val="409DAD"/>
    </a:custClr>
    <a:custClr name="Deep Purple 75%">
      <a:srgbClr val="AA5CAA"/>
    </a:custClr>
    <a:custClr name="Tan 75%">
      <a:srgbClr val="BDB694"/>
    </a:custClr>
    <a:custClr name="Bright Green 75%">
      <a:srgbClr val="9BCA40"/>
    </a:custClr>
    <a:custClr name="Deep Blue 75%">
      <a:srgbClr val="4066AA"/>
    </a:custClr>
    <a:custClr name="Orange 75%">
      <a:srgbClr val="D67A40"/>
    </a:custClr>
    <a:custClr name="Bright Yellow 75%">
      <a:srgbClr val="F0C940"/>
    </a:custClr>
    <a:custClr name="Powder Blue 75%">
      <a:srgbClr val="B2D4EF"/>
    </a:custClr>
    <a:custClr name="Gray 75%">
      <a:srgbClr val="97989A"/>
    </a:custClr>
    <a:custClr name="Red 75%">
      <a:srgbClr val="B6646B"/>
    </a:custClr>
    <a:custClr name="Turquoise 50%">
      <a:srgbClr val="80BEC9"/>
    </a:custClr>
    <a:custClr name="Deep Purple 50%">
      <a:srgbClr val="C792C6"/>
    </a:custClr>
    <a:custClr name="Tan 50%">
      <a:srgbClr val="D3CFB8"/>
    </a:custClr>
    <a:custClr name="Bright Green 50%">
      <a:srgbClr val="BDDC80"/>
    </a:custClr>
    <a:custClr name="Deep Blue 50%">
      <a:srgbClr val="8099C6"/>
    </a:custClr>
    <a:custClr name="Orange 50%">
      <a:srgbClr val="E3A780"/>
    </a:custClr>
    <a:custClr name="Bright Yellow 50%">
      <a:srgbClr val="F5DB7E"/>
    </a:custClr>
    <a:custClr name="Powder Blue 50%">
      <a:srgbClr val="CCE3F4"/>
    </a:custClr>
    <a:custClr name="Gray 50%">
      <a:srgbClr val="BABBBC"/>
    </a:custClr>
    <a:custClr name="Red 50%">
      <a:srgbClr val="CF989C"/>
    </a:custClr>
    <a:custClr name="Turquoise 25%">
      <a:srgbClr val="BFDEE4"/>
    </a:custClr>
    <a:custClr name="Deep Purple 25%">
      <a:srgbClr val="E3C9E3"/>
    </a:custClr>
    <a:custClr name="Tan 25%">
      <a:srgbClr val="E9E7DB"/>
    </a:custClr>
    <a:custClr name="Bright Green 25%">
      <a:srgbClr val="DEEDBF"/>
    </a:custClr>
    <a:custClr name="Deep Blue 25%">
      <a:srgbClr val="BFCCE3"/>
    </a:custClr>
    <a:custClr name="Orange 25%">
      <a:srgbClr val="F1D3BF"/>
    </a:custClr>
    <a:custClr name="Bright Yellow 25%">
      <a:srgbClr val="FAEDBF"/>
    </a:custClr>
    <a:custClr name="Powder Blue 25%">
      <a:srgbClr val="E5F1FA"/>
    </a:custClr>
    <a:custClr name="Gray 25%">
      <a:srgbClr val="DCDDDD"/>
    </a:custClr>
    <a:custClr name="Red 25%">
      <a:srgbClr val="E7CBCE"/>
    </a:custClr>
    <a:custClr name="Turquoise 10%">
      <a:srgbClr val="E5F2F4"/>
    </a:custClr>
    <a:custClr name="Deep Purple 10%">
      <a:srgbClr val="F3E9F3"/>
    </a:custClr>
    <a:custClr name="Tan 10%">
      <a:srgbClr val="F6F5F0"/>
    </a:custClr>
    <a:custClr name="Bright Green 10%">
      <a:srgbClr val="F1F8E5"/>
    </a:custClr>
    <a:custClr name="Deep Blue 10%">
      <a:srgbClr val="E5EAF3"/>
    </a:custClr>
    <a:custClr name="Orange 10%">
      <a:srgbClr val="F9EDE5"/>
    </a:custClr>
    <a:custClr name="Bright Yellow 10%">
      <a:srgbClr val="FDF8E5"/>
    </a:custClr>
    <a:custClr name="Powder Blue 10%">
      <a:srgbClr val="F4F9FD"/>
    </a:custClr>
    <a:custClr name="Gray 10%">
      <a:srgbClr val="F1F1F1"/>
    </a:custClr>
    <a:custClr name="Red 10%">
      <a:srgbClr val="F5EAEB"/>
    </a:custClr>
  </a:custClrLst>
  <a:extLst>
    <a:ext uri="{05A4C25C-085E-4340-85A3-A5531E510DB2}">
      <thm15:themeFamily xmlns:thm15="http://schemas.microsoft.com/office/thememl/2012/main" name="kpmg.report.design.potx" id="{00EDB66D-F9B9-48A2-8533-9FD72D621924}" vid="{DC5748ED-6BDC-4B4D-8D51-8DCCFFE25EC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ort_JSC_r</Template>
  <TotalTime>5140</TotalTime>
  <Words>1118</Words>
  <Application>Microsoft Office PowerPoint</Application>
  <PresentationFormat>A4 Paper (210x297 mm)</PresentationFormat>
  <Paragraphs>323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9" baseType="lpstr">
      <vt:lpstr>Arial</vt:lpstr>
      <vt:lpstr>Calibri</vt:lpstr>
      <vt:lpstr>Cambria Math</vt:lpstr>
      <vt:lpstr>Open Sans Light</vt:lpstr>
      <vt:lpstr>Times New Roman</vt:lpstr>
      <vt:lpstr>Univers 45 Light</vt:lpstr>
      <vt:lpstr>Univers for KPMG</vt:lpstr>
      <vt:lpstr>Wingdings</vt:lpstr>
      <vt:lpstr>13_CREATE REPORT A4</vt:lpstr>
      <vt:lpstr>CREATE SCREEN</vt:lpstr>
      <vt:lpstr>CREATE REPORT A4</vt:lpstr>
      <vt:lpstr>think-cell Slide</vt:lpstr>
      <vt:lpstr>Инновационные  казначейские инструменты</vt:lpstr>
      <vt:lpstr>Содержание</vt:lpstr>
      <vt:lpstr>1. Основы Казначейства</vt:lpstr>
      <vt:lpstr>PowerPoint Presentation</vt:lpstr>
      <vt:lpstr>PowerPoint Presentation</vt:lpstr>
      <vt:lpstr>2. Инновационные казначейские инструменты</vt:lpstr>
      <vt:lpstr>PowerPoint Presentation</vt:lpstr>
      <vt:lpstr>PowerPoint Presentation</vt:lpstr>
      <vt:lpstr>2. Инновационные казначейские инструменты</vt:lpstr>
      <vt:lpstr>PowerPoint Presentation</vt:lpstr>
      <vt:lpstr>2. Инновационные казначейские инструменты</vt:lpstr>
      <vt:lpstr>PowerPoint Presentation</vt:lpstr>
      <vt:lpstr>PowerPoint Presentation</vt:lpstr>
      <vt:lpstr>PowerPoint Presentation</vt:lpstr>
      <vt:lpstr>3. Резюме</vt:lpstr>
      <vt:lpstr>PowerPoint Presentation</vt:lpstr>
      <vt:lpstr>PowerPoint Presentation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Anastasia Kalugina</dc:creator>
  <cp:lastModifiedBy>kpmg</cp:lastModifiedBy>
  <cp:revision>322</cp:revision>
  <cp:lastPrinted>2016-03-24T07:39:37Z</cp:lastPrinted>
  <dcterms:created xsi:type="dcterms:W3CDTF">2016-03-15T08:06:08Z</dcterms:created>
  <dcterms:modified xsi:type="dcterms:W3CDTF">2016-04-19T09:41:58Z</dcterms:modified>
</cp:coreProperties>
</file>